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817" r:id="rId2"/>
    <p:sldMasterId id="2147483918" r:id="rId3"/>
  </p:sldMasterIdLst>
  <p:notesMasterIdLst>
    <p:notesMasterId r:id="rId6"/>
  </p:notesMasterIdLst>
  <p:sldIdLst>
    <p:sldId id="395" r:id="rId4"/>
    <p:sldId id="405" r:id="rId5"/>
  </p:sldIdLst>
  <p:sldSz cx="12188825" cy="6858000"/>
  <p:notesSz cx="6858000" cy="9144000"/>
  <p:defaultTextStyle>
    <a:defPPr>
      <a:defRPr lang="en-US"/>
    </a:defPPr>
    <a:lvl1pPr marL="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3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3333FF"/>
    <a:srgbClr val="3399FF"/>
    <a:srgbClr val="3670EF"/>
    <a:srgbClr val="5ACCBC"/>
    <a:srgbClr val="7AE060"/>
    <a:srgbClr val="F5F350"/>
    <a:srgbClr val="F4A748"/>
    <a:srgbClr val="F1715B"/>
    <a:srgbClr val="E8E8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53857DE-9A6D-4145-B79E-B6CB93EA368D}" v="48" dt="2026-01-25T15:43:40.57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1" d="100"/>
          <a:sy n="51" d="100"/>
        </p:scale>
        <p:origin x="1232" y="24"/>
      </p:cViewPr>
      <p:guideLst>
        <p:guide orient="horz" pos="2160"/>
        <p:guide pos="383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microsoft.com/office/2015/10/relationships/revisionInfo" Target="revisionInfo.xml"/><Relationship Id="rId5" Type="http://schemas.openxmlformats.org/officeDocument/2006/relationships/slide" Target="slides/slide2.xml"/><Relationship Id="rId10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AB488F7-1FAC-40D2-BB7E-BA3CE28D8950}" type="datetimeFigureOut">
              <a:rPr lang="en-US" smtClean="0"/>
              <a:pPr/>
              <a:t>2/25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2D21D1-52E2-420B-B491-CFF6D7BB79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94786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2D21D1-52E2-420B-B491-CFF6D7BB79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46429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/>
              <a:t>Adaptive Program Management (APM)</a:t>
            </a:r>
            <a:r>
              <a:rPr lang="en-US"/>
              <a:t> is a dynamic approach that emphasizes continuous learning, flexibility, and responsiveness to changing conditions in program implementation:</a:t>
            </a:r>
          </a:p>
          <a:p>
            <a:endParaRPr lang="en-US" b="1"/>
          </a:p>
          <a:p>
            <a:pPr lvl="1"/>
            <a:r>
              <a:rPr lang="en-US" b="1"/>
              <a:t>Methodology: </a:t>
            </a:r>
            <a:r>
              <a:rPr lang="en-US"/>
              <a:t>Iterative processes, responsive decision-making and participatory engagement</a:t>
            </a:r>
          </a:p>
          <a:p>
            <a:pPr lvl="1"/>
            <a:r>
              <a:rPr lang="en-US" b="1"/>
              <a:t>Application &amp; Benefits: </a:t>
            </a:r>
            <a:r>
              <a:rPr lang="en-US"/>
              <a:t>Improve outcomes, enhance resilience and empowerment of team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2D21D1-52E2-420B-B491-CFF6D7BB79FB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4855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162" y="3887117"/>
            <a:ext cx="10360501" cy="610820"/>
          </a:xfrm>
        </p:spPr>
        <p:txBody>
          <a:bodyPr/>
          <a:lstStyle>
            <a:lvl1pPr algn="ctr">
              <a:defRPr lang="en-US" sz="40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4399020"/>
            <a:ext cx="8532178" cy="764440"/>
          </a:xfrm>
        </p:spPr>
        <p:txBody>
          <a:bodyPr>
            <a:normAutofit/>
          </a:bodyPr>
          <a:lstStyle>
            <a:lvl1pPr marL="0" indent="0" algn="ctr">
              <a:buNone/>
              <a:defRPr lang="en-US" sz="24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6094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3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8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2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78D6DB-6798-42D2-B9AD-FC6F1C72FC30}" type="datetimeFigureOut">
              <a:rPr lang="en-US" smtClean="0"/>
              <a:pPr/>
              <a:t>2/25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EDE275-BE14-4364-AEA2-5F5667C0FD4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1541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095" y="4800600"/>
            <a:ext cx="7313295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095" y="612775"/>
            <a:ext cx="7313295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493" indent="0">
              <a:buNone/>
              <a:defRPr sz="3700"/>
            </a:lvl2pPr>
            <a:lvl3pPr marL="1218987" indent="0">
              <a:buNone/>
              <a:defRPr sz="3200"/>
            </a:lvl3pPr>
            <a:lvl4pPr marL="1828480" indent="0">
              <a:buNone/>
              <a:defRPr sz="2700"/>
            </a:lvl4pPr>
            <a:lvl5pPr marL="2437973" indent="0">
              <a:buNone/>
              <a:defRPr sz="2700"/>
            </a:lvl5pPr>
            <a:lvl6pPr marL="3047467" indent="0">
              <a:buNone/>
              <a:defRPr sz="2700"/>
            </a:lvl6pPr>
            <a:lvl7pPr marL="3656960" indent="0">
              <a:buNone/>
              <a:defRPr sz="2700"/>
            </a:lvl7pPr>
            <a:lvl8pPr marL="4266453" indent="0">
              <a:buNone/>
              <a:defRPr sz="2700"/>
            </a:lvl8pPr>
            <a:lvl9pPr marL="4875947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095" y="5367338"/>
            <a:ext cx="7313295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2/25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38142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2/25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41580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6898" y="274639"/>
            <a:ext cx="2742486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441" y="274639"/>
            <a:ext cx="802431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2/25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50223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162" y="3887117"/>
            <a:ext cx="10360501" cy="610820"/>
          </a:xfrm>
        </p:spPr>
        <p:txBody>
          <a:bodyPr/>
          <a:lstStyle>
            <a:lvl1pPr algn="ctr">
              <a:defRPr lang="en-US" sz="40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4399020"/>
            <a:ext cx="8532178" cy="764440"/>
          </a:xfrm>
        </p:spPr>
        <p:txBody>
          <a:bodyPr>
            <a:normAutofit/>
          </a:bodyPr>
          <a:lstStyle>
            <a:lvl1pPr marL="0" indent="0" algn="ctr">
              <a:buNone/>
              <a:defRPr lang="en-US" sz="24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6094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3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8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2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78D6DB-6798-42D2-B9AD-FC6F1C72FC30}" type="datetimeFigureOut">
              <a:rPr lang="en-US" smtClean="0"/>
              <a:pPr/>
              <a:t>2/25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EDE275-BE14-4364-AEA2-5F5667C0FD4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25001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2/25/20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65932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2/25/20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862257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2/25/20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0C51056-B6CC-2855-350E-C4B3FD306A1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1792" y="590468"/>
            <a:ext cx="2237400" cy="2237400"/>
          </a:xfrm>
          <a:custGeom>
            <a:avLst/>
            <a:gdLst>
              <a:gd name="connsiteX0" fmla="*/ 1118700 w 2237400"/>
              <a:gd name="connsiteY0" fmla="*/ 0 h 2237400"/>
              <a:gd name="connsiteX1" fmla="*/ 2237400 w 2237400"/>
              <a:gd name="connsiteY1" fmla="*/ 1118700 h 2237400"/>
              <a:gd name="connsiteX2" fmla="*/ 1118700 w 2237400"/>
              <a:gd name="connsiteY2" fmla="*/ 2237400 h 2237400"/>
              <a:gd name="connsiteX3" fmla="*/ 0 w 2237400"/>
              <a:gd name="connsiteY3" fmla="*/ 1118700 h 2237400"/>
              <a:gd name="connsiteX4" fmla="*/ 1118700 w 2237400"/>
              <a:gd name="connsiteY4" fmla="*/ 0 h 223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37400" h="2237400">
                <a:moveTo>
                  <a:pt x="1118700" y="0"/>
                </a:moveTo>
                <a:cubicBezTo>
                  <a:pt x="1736541" y="0"/>
                  <a:pt x="2237400" y="500859"/>
                  <a:pt x="2237400" y="1118700"/>
                </a:cubicBezTo>
                <a:cubicBezTo>
                  <a:pt x="2237400" y="1736541"/>
                  <a:pt x="1736541" y="2237400"/>
                  <a:pt x="1118700" y="2237400"/>
                </a:cubicBezTo>
                <a:cubicBezTo>
                  <a:pt x="500859" y="2237400"/>
                  <a:pt x="0" y="1736541"/>
                  <a:pt x="0" y="1118700"/>
                </a:cubicBezTo>
                <a:cubicBezTo>
                  <a:pt x="0" y="500859"/>
                  <a:pt x="500859" y="0"/>
                  <a:pt x="11187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220227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Slide_Option-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93992D4-8A2D-D541-AA4A-70DCFA85BBD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13" b="11280"/>
          <a:stretch/>
        </p:blipFill>
        <p:spPr>
          <a:xfrm>
            <a:off x="0" y="0"/>
            <a:ext cx="12188825" cy="6858000"/>
          </a:xfrm>
          <a:prstGeom prst="rect">
            <a:avLst/>
          </a:prstGeom>
        </p:spPr>
      </p:pic>
      <p:sp>
        <p:nvSpPr>
          <p:cNvPr id="9" name="Title 3"/>
          <p:cNvSpPr>
            <a:spLocks noGrp="1"/>
          </p:cNvSpPr>
          <p:nvPr>
            <p:ph type="title" hasCustomPrompt="1"/>
          </p:nvPr>
        </p:nvSpPr>
        <p:spPr>
          <a:xfrm>
            <a:off x="914162" y="4673601"/>
            <a:ext cx="9154462" cy="1695451"/>
          </a:xfrm>
          <a:prstGeom prst="rect">
            <a:avLst/>
          </a:prstGeom>
          <a:noFill/>
        </p:spPr>
        <p:txBody>
          <a:bodyPr lIns="0" tIns="274320" rIns="182880" bIns="91440" anchor="t" anchorCtr="0"/>
          <a:lstStyle>
            <a:lvl1pPr>
              <a:defRPr lang="en-US" sz="3732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92C8703-0B1A-2E4B-A2F7-4966FE3ADA9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alphaModFix amt="61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0886059" y="836586"/>
            <a:ext cx="1261872" cy="249194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2F64E08-070B-5844-BBA2-FDB00C12CE38}"/>
              </a:ext>
            </a:extLst>
          </p:cNvPr>
          <p:cNvCxnSpPr>
            <a:cxnSpLocks/>
          </p:cNvCxnSpPr>
          <p:nvPr/>
        </p:nvCxnSpPr>
        <p:spPr>
          <a:xfrm>
            <a:off x="11529561" y="1772241"/>
            <a:ext cx="0" cy="5085761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C9006B9-3C95-9843-98F6-2D18143C3E42}"/>
              </a:ext>
            </a:extLst>
          </p:cNvPr>
          <p:cNvCxnSpPr>
            <a:cxnSpLocks/>
          </p:cNvCxnSpPr>
          <p:nvPr/>
        </p:nvCxnSpPr>
        <p:spPr>
          <a:xfrm>
            <a:off x="10794023" y="1772239"/>
            <a:ext cx="1394804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9763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1-Column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CC3474-811F-B342-9D29-E222B00B2A7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Xerox Internal Use Only</a:t>
            </a: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520423" y="1892300"/>
            <a:ext cx="11155631" cy="40329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tabLst/>
              <a:defRPr>
                <a:solidFill>
                  <a:schemeClr val="accent6"/>
                </a:solidFill>
              </a:defRPr>
            </a:lvl1pPr>
            <a:lvl2pPr marL="234875" indent="-234875">
              <a:lnSpc>
                <a:spcPct val="95000"/>
              </a:lnSpc>
              <a:spcAft>
                <a:spcPts val="400"/>
              </a:spcAft>
              <a:buClrTx/>
              <a:tabLst/>
              <a:defRPr>
                <a:solidFill>
                  <a:schemeClr val="tx1"/>
                </a:solidFill>
              </a:defRPr>
            </a:lvl2pPr>
            <a:lvl3pPr marL="477684" indent="-219003">
              <a:lnSpc>
                <a:spcPct val="95000"/>
              </a:lnSpc>
              <a:buClrTx/>
              <a:buFont typeface="Arial" panose="020B0604020202020204" pitchFamily="34" charset="0"/>
              <a:buChar char="‒"/>
              <a:tabLst/>
              <a:defRPr>
                <a:solidFill>
                  <a:schemeClr val="tx1"/>
                </a:solidFill>
              </a:defRPr>
            </a:lvl3pPr>
            <a:lvl4pPr marL="709383" indent="-231699">
              <a:lnSpc>
                <a:spcPct val="95000"/>
              </a:lnSpc>
              <a:buClrTx/>
              <a:tabLst/>
              <a:defRPr sz="1799">
                <a:solidFill>
                  <a:schemeClr val="tx1"/>
                </a:solidFill>
              </a:defRPr>
            </a:lvl4pPr>
            <a:lvl5pPr marL="947431" indent="-228525">
              <a:lnSpc>
                <a:spcPct val="95000"/>
              </a:lnSpc>
              <a:buClrTx/>
              <a:buFont typeface="Arial" panose="020B0604020202020204" pitchFamily="34" charset="0"/>
              <a:buChar char="‒"/>
              <a:tabLst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27486" y="464903"/>
            <a:ext cx="11155633" cy="1224197"/>
          </a:xfrm>
          <a:prstGeom prst="rect">
            <a:avLst/>
          </a:prstGeom>
        </p:spPr>
        <p:txBody>
          <a:bodyPr lIns="0" rIns="0" anchor="t" anchorCtr="0"/>
          <a:lstStyle>
            <a:lvl1pPr>
              <a:defRPr lang="en-US" sz="3599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 algn="l" defTabSz="914103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accent1"/>
              </a:buClr>
              <a:buFontTx/>
              <a:buNone/>
              <a:tabLst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6112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A9BF0E43-53A0-486A-850F-138B9BA518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20423" y="6370836"/>
            <a:ext cx="486750" cy="123111"/>
          </a:xfrm>
        </p:spPr>
        <p:txBody>
          <a:bodyPr/>
          <a:lstStyle/>
          <a:p>
            <a:fld id="{80CC3474-811F-B342-9D29-E222B00B2A7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CBDF4BE0-4561-4565-9C55-C6F11555FF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57879" y="1600200"/>
            <a:ext cx="10730941" cy="4401168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Clr>
                <a:schemeClr val="accent6"/>
              </a:buClr>
              <a:buNone/>
              <a:defRPr>
                <a:solidFill>
                  <a:schemeClr val="tx1"/>
                </a:solidFill>
              </a:defRPr>
            </a:lvl1pPr>
            <a:lvl2pPr>
              <a:buClrTx/>
              <a:defRPr>
                <a:solidFill>
                  <a:schemeClr val="tx1"/>
                </a:solidFill>
              </a:defRPr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>
              <a:solidFill>
                <a:srgbClr val="C00000"/>
              </a:solidFill>
              <a:latin typeface="Xerox Sans Light"/>
            </a:endParaRPr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5654C745-EEFB-4CA5-9647-F1152A0A27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8634" y="1"/>
            <a:ext cx="10910190" cy="1140819"/>
          </a:xfrm>
          <a:prstGeom prst="rect">
            <a:avLst/>
          </a:prstGeom>
          <a:solidFill>
            <a:schemeClr val="tx1"/>
          </a:solidFill>
        </p:spPr>
        <p:txBody>
          <a:bodyPr lIns="182880" tIns="365760"/>
          <a:lstStyle/>
          <a:p>
            <a:r>
              <a:rPr lang="en-US" sz="4266" b="1">
                <a:solidFill>
                  <a:schemeClr val="bg1"/>
                </a:solidFill>
                <a:latin typeface="Xerox Sans Light" panose="02000000000000000000" pitchFamily="2" charset="0"/>
              </a:rPr>
              <a:t>Click to edit Master title style</a:t>
            </a:r>
            <a:endParaRPr lang="en-US" b="1">
              <a:solidFill>
                <a:schemeClr val="bg1"/>
              </a:solidFill>
              <a:latin typeface="Xerox Sans Light" panose="02000000000000000000" pitchFamily="2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364CB2C-F93A-457F-9766-C927D7C1547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949"/>
          <a:stretch/>
        </p:blipFill>
        <p:spPr>
          <a:xfrm rot="16200000">
            <a:off x="61381" y="936142"/>
            <a:ext cx="1273847" cy="249194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EE7D8C9C-2196-46A1-8FB6-418B79F64626}"/>
              </a:ext>
            </a:extLst>
          </p:cNvPr>
          <p:cNvGrpSpPr/>
          <p:nvPr/>
        </p:nvGrpSpPr>
        <p:grpSpPr>
          <a:xfrm>
            <a:off x="561171" y="2092776"/>
            <a:ext cx="293828" cy="4765224"/>
            <a:chOff x="420986" y="1569582"/>
            <a:chExt cx="220429" cy="3573918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27C4640E-D6D2-421B-A740-B669BEC387B8}"/>
                </a:ext>
              </a:extLst>
            </p:cNvPr>
            <p:cNvCxnSpPr>
              <a:cxnSpLocks/>
            </p:cNvCxnSpPr>
            <p:nvPr/>
          </p:nvCxnSpPr>
          <p:spPr>
            <a:xfrm>
              <a:off x="527399" y="1673466"/>
              <a:ext cx="0" cy="3470034"/>
            </a:xfrm>
            <a:prstGeom prst="line">
              <a:avLst/>
            </a:prstGeom>
            <a:ln w="9525">
              <a:solidFill>
                <a:schemeClr val="accent6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7FA8AB82-C45C-4EAF-9F2D-641869BC064F}"/>
                </a:ext>
              </a:extLst>
            </p:cNvPr>
            <p:cNvSpPr/>
            <p:nvPr/>
          </p:nvSpPr>
          <p:spPr>
            <a:xfrm>
              <a:off x="420986" y="1569582"/>
              <a:ext cx="220429" cy="220429"/>
            </a:xfrm>
            <a:prstGeom prst="ellipse">
              <a:avLst/>
            </a:prstGeom>
            <a:noFill/>
            <a:ln w="190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1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5F58A11-338C-4556-81AF-1274BFDD4E6B}"/>
              </a:ext>
            </a:extLst>
          </p:cNvPr>
          <p:cNvCxnSpPr>
            <a:cxnSpLocks/>
          </p:cNvCxnSpPr>
          <p:nvPr/>
        </p:nvCxnSpPr>
        <p:spPr>
          <a:xfrm>
            <a:off x="11411016" y="6371821"/>
            <a:ext cx="777808" cy="0"/>
          </a:xfrm>
          <a:prstGeom prst="line">
            <a:avLst/>
          </a:prstGeom>
          <a:ln w="9525">
            <a:solidFill>
              <a:schemeClr val="accent6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2ACE7148-D906-46E6-ABB2-74CD17690676}"/>
              </a:ext>
            </a:extLst>
          </p:cNvPr>
          <p:cNvSpPr/>
          <p:nvPr/>
        </p:nvSpPr>
        <p:spPr>
          <a:xfrm>
            <a:off x="9089119" y="6228194"/>
            <a:ext cx="3099706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1200" cap="none" spc="133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Xerox Sans" panose="02000000000000000000" pitchFamily="2" charset="0"/>
                <a:ea typeface="+mn-ea"/>
                <a:cs typeface="+mn-cs"/>
              </a:rPr>
              <a:t>XEROX IN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1443876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162" y="2130426"/>
            <a:ext cx="10360501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2/25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77184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CC3474-811F-B342-9D29-E222B00B2A7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Xerox Internal Use Only</a:t>
            </a: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520423" y="1892300"/>
            <a:ext cx="11155631" cy="40329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tabLst/>
              <a:defRPr>
                <a:solidFill>
                  <a:schemeClr val="bg2"/>
                </a:solidFill>
              </a:defRPr>
            </a:lvl1pPr>
            <a:lvl2pPr marL="234875" indent="-234875">
              <a:lnSpc>
                <a:spcPct val="95000"/>
              </a:lnSpc>
              <a:spcAft>
                <a:spcPts val="400"/>
              </a:spcAft>
              <a:buClrTx/>
              <a:tabLst/>
              <a:defRPr>
                <a:solidFill>
                  <a:schemeClr val="tx1"/>
                </a:solidFill>
              </a:defRPr>
            </a:lvl2pPr>
            <a:lvl3pPr marL="477684" indent="-219003">
              <a:lnSpc>
                <a:spcPct val="95000"/>
              </a:lnSpc>
              <a:buClrTx/>
              <a:buFont typeface="Arial" panose="020B0604020202020204" pitchFamily="34" charset="0"/>
              <a:buChar char="‒"/>
              <a:tabLst/>
              <a:defRPr>
                <a:solidFill>
                  <a:schemeClr val="tx1"/>
                </a:solidFill>
              </a:defRPr>
            </a:lvl3pPr>
            <a:lvl4pPr marL="709383" indent="-231699">
              <a:lnSpc>
                <a:spcPct val="95000"/>
              </a:lnSpc>
              <a:buClrTx/>
              <a:tabLst/>
              <a:defRPr sz="1799">
                <a:solidFill>
                  <a:schemeClr val="tx1"/>
                </a:solidFill>
              </a:defRPr>
            </a:lvl4pPr>
            <a:lvl5pPr marL="947431" indent="-228525">
              <a:lnSpc>
                <a:spcPct val="95000"/>
              </a:lnSpc>
              <a:buClrTx/>
              <a:buFont typeface="Arial" panose="020B0604020202020204" pitchFamily="34" charset="0"/>
              <a:buChar char="‒"/>
              <a:tabLst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27486" y="464903"/>
            <a:ext cx="11155633" cy="1224197"/>
          </a:xfrm>
          <a:prstGeom prst="rect">
            <a:avLst/>
          </a:prstGeom>
        </p:spPr>
        <p:txBody>
          <a:bodyPr lIns="0" rIns="0" anchor="t" anchorCtr="0"/>
          <a:lstStyle>
            <a:lvl1pPr>
              <a:defRPr lang="en-US" sz="3599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 algn="l" defTabSz="914103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accent1"/>
              </a:buClr>
              <a:buFontTx/>
              <a:buNone/>
              <a:tabLst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8114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CC3474-811F-B342-9D29-E222B00B2A7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Xerox Internal Use Only</a:t>
            </a: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520424" y="1892300"/>
            <a:ext cx="5286034" cy="40329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tabLst/>
              <a:defRPr>
                <a:solidFill>
                  <a:schemeClr val="accent1"/>
                </a:solidFill>
              </a:defRPr>
            </a:lvl1pPr>
            <a:lvl2pPr marL="234875" indent="-234875">
              <a:lnSpc>
                <a:spcPct val="95000"/>
              </a:lnSpc>
              <a:buClrTx/>
              <a:tabLst/>
              <a:defRPr>
                <a:solidFill>
                  <a:schemeClr val="tx1"/>
                </a:solidFill>
              </a:defRPr>
            </a:lvl2pPr>
            <a:lvl3pPr marL="477684" indent="-219003">
              <a:lnSpc>
                <a:spcPct val="95000"/>
              </a:lnSpc>
              <a:buClrTx/>
              <a:buFont typeface="Arial" panose="020B0604020202020204" pitchFamily="34" charset="0"/>
              <a:buChar char="‒"/>
              <a:tabLst/>
              <a:defRPr>
                <a:solidFill>
                  <a:schemeClr val="tx1"/>
                </a:solidFill>
              </a:defRPr>
            </a:lvl3pPr>
            <a:lvl4pPr marL="709383" indent="-231699">
              <a:lnSpc>
                <a:spcPct val="95000"/>
              </a:lnSpc>
              <a:buClrTx/>
              <a:tabLst/>
              <a:defRPr sz="1799">
                <a:solidFill>
                  <a:schemeClr val="tx1"/>
                </a:solidFill>
              </a:defRPr>
            </a:lvl4pPr>
            <a:lvl5pPr marL="947431" indent="-228525">
              <a:lnSpc>
                <a:spcPct val="95000"/>
              </a:lnSpc>
              <a:buClrTx/>
              <a:buFont typeface="Arial" panose="020B0604020202020204" pitchFamily="34" charset="0"/>
              <a:buChar char="‒"/>
              <a:tabLst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6396062" y="1892300"/>
            <a:ext cx="5286034" cy="40329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tabLst/>
              <a:defRPr>
                <a:solidFill>
                  <a:schemeClr val="accent1"/>
                </a:solidFill>
              </a:defRPr>
            </a:lvl1pPr>
            <a:lvl2pPr marL="234875" indent="-234875">
              <a:lnSpc>
                <a:spcPct val="95000"/>
              </a:lnSpc>
              <a:buClrTx/>
              <a:tabLst/>
              <a:defRPr>
                <a:solidFill>
                  <a:schemeClr val="tx1"/>
                </a:solidFill>
              </a:defRPr>
            </a:lvl2pPr>
            <a:lvl3pPr marL="477684" indent="-219003">
              <a:lnSpc>
                <a:spcPct val="95000"/>
              </a:lnSpc>
              <a:buClrTx/>
              <a:buFont typeface="Arial" panose="020B0604020202020204" pitchFamily="34" charset="0"/>
              <a:buChar char="‒"/>
              <a:tabLst/>
              <a:defRPr>
                <a:solidFill>
                  <a:schemeClr val="tx1"/>
                </a:solidFill>
              </a:defRPr>
            </a:lvl3pPr>
            <a:lvl4pPr marL="709383" indent="-231699">
              <a:lnSpc>
                <a:spcPct val="95000"/>
              </a:lnSpc>
              <a:buClrTx/>
              <a:tabLst/>
              <a:defRPr sz="1799">
                <a:solidFill>
                  <a:schemeClr val="tx1"/>
                </a:solidFill>
              </a:defRPr>
            </a:lvl4pPr>
            <a:lvl5pPr marL="947431" indent="-228525">
              <a:lnSpc>
                <a:spcPct val="95000"/>
              </a:lnSpc>
              <a:buClrTx/>
              <a:buFont typeface="Arial" panose="020B0604020202020204" pitchFamily="34" charset="0"/>
              <a:buChar char="‒"/>
              <a:tabLst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527486" y="464903"/>
            <a:ext cx="11155633" cy="1224197"/>
          </a:xfrm>
          <a:prstGeom prst="rect">
            <a:avLst/>
          </a:prstGeom>
        </p:spPr>
        <p:txBody>
          <a:bodyPr lIns="0" rIns="0" anchor="t" anchorCtr="0"/>
          <a:lstStyle>
            <a:lvl1pPr>
              <a:defRPr lang="en-US" sz="3599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 algn="l" defTabSz="914103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accent1"/>
              </a:buClr>
              <a:buFontTx/>
              <a:buNone/>
              <a:tabLst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59865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Blank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CC3474-811F-B342-9D29-E222B00B2A7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Xerox Internal Use Only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27486" y="464903"/>
            <a:ext cx="11155633" cy="1224197"/>
          </a:xfrm>
          <a:prstGeom prst="rect">
            <a:avLst/>
          </a:prstGeom>
        </p:spPr>
        <p:txBody>
          <a:bodyPr lIns="0" rIns="0" anchor="t" anchorCtr="0"/>
          <a:lstStyle>
            <a:lvl1pPr>
              <a:defRPr lang="en-US" sz="3599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 algn="l" defTabSz="914103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accent1"/>
              </a:buClr>
              <a:buFontTx/>
              <a:buNone/>
              <a:tabLst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73452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CC3474-811F-B342-9D29-E222B00B2A7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Xerox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996647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2-Column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CC3474-811F-B342-9D29-E222B00B2A7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Xerox Internal Use Only</a:t>
            </a: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520424" y="1892300"/>
            <a:ext cx="5286034" cy="40329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tabLst/>
              <a:defRPr>
                <a:solidFill>
                  <a:schemeClr val="accent6"/>
                </a:solidFill>
              </a:defRPr>
            </a:lvl1pPr>
            <a:lvl2pPr marL="234875" indent="-234875">
              <a:lnSpc>
                <a:spcPct val="95000"/>
              </a:lnSpc>
              <a:buClrTx/>
              <a:tabLst/>
              <a:defRPr>
                <a:solidFill>
                  <a:schemeClr val="tx1"/>
                </a:solidFill>
              </a:defRPr>
            </a:lvl2pPr>
            <a:lvl3pPr marL="477684" indent="-219003">
              <a:lnSpc>
                <a:spcPct val="95000"/>
              </a:lnSpc>
              <a:buClrTx/>
              <a:buFont typeface="Arial" panose="020B0604020202020204" pitchFamily="34" charset="0"/>
              <a:buChar char="‒"/>
              <a:tabLst/>
              <a:defRPr>
                <a:solidFill>
                  <a:schemeClr val="tx1"/>
                </a:solidFill>
              </a:defRPr>
            </a:lvl3pPr>
            <a:lvl4pPr marL="709383" indent="-231699">
              <a:lnSpc>
                <a:spcPct val="95000"/>
              </a:lnSpc>
              <a:buClrTx/>
              <a:tabLst/>
              <a:defRPr sz="1799">
                <a:solidFill>
                  <a:schemeClr val="tx1"/>
                </a:solidFill>
              </a:defRPr>
            </a:lvl4pPr>
            <a:lvl5pPr marL="947431" indent="-228525">
              <a:lnSpc>
                <a:spcPct val="95000"/>
              </a:lnSpc>
              <a:buClrTx/>
              <a:buFont typeface="Arial" panose="020B0604020202020204" pitchFamily="34" charset="0"/>
              <a:buChar char="‒"/>
              <a:tabLst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6396062" y="1892300"/>
            <a:ext cx="5286034" cy="40329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tabLst/>
              <a:defRPr>
                <a:solidFill>
                  <a:schemeClr val="accent6"/>
                </a:solidFill>
              </a:defRPr>
            </a:lvl1pPr>
            <a:lvl2pPr marL="234875" indent="-234875">
              <a:lnSpc>
                <a:spcPct val="95000"/>
              </a:lnSpc>
              <a:buClrTx/>
              <a:tabLst/>
              <a:defRPr>
                <a:solidFill>
                  <a:schemeClr val="tx1"/>
                </a:solidFill>
              </a:defRPr>
            </a:lvl2pPr>
            <a:lvl3pPr marL="477684" indent="-219003">
              <a:lnSpc>
                <a:spcPct val="95000"/>
              </a:lnSpc>
              <a:buClrTx/>
              <a:buFont typeface="Arial" panose="020B0604020202020204" pitchFamily="34" charset="0"/>
              <a:buChar char="‒"/>
              <a:tabLst/>
              <a:defRPr>
                <a:solidFill>
                  <a:schemeClr val="tx1"/>
                </a:solidFill>
              </a:defRPr>
            </a:lvl3pPr>
            <a:lvl4pPr marL="709383" indent="-231699">
              <a:lnSpc>
                <a:spcPct val="95000"/>
              </a:lnSpc>
              <a:buClrTx/>
              <a:tabLst/>
              <a:defRPr sz="1799">
                <a:solidFill>
                  <a:schemeClr val="tx1"/>
                </a:solidFill>
              </a:defRPr>
            </a:lvl4pPr>
            <a:lvl5pPr marL="947431" indent="-228525">
              <a:lnSpc>
                <a:spcPct val="95000"/>
              </a:lnSpc>
              <a:buClrTx/>
              <a:buFont typeface="Arial" panose="020B0604020202020204" pitchFamily="34" charset="0"/>
              <a:buChar char="‒"/>
              <a:tabLst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527486" y="464903"/>
            <a:ext cx="11155633" cy="1224197"/>
          </a:xfrm>
          <a:prstGeom prst="rect">
            <a:avLst/>
          </a:prstGeom>
        </p:spPr>
        <p:txBody>
          <a:bodyPr lIns="0" rIns="0" anchor="t" anchorCtr="0"/>
          <a:lstStyle>
            <a:lvl1pPr>
              <a:defRPr lang="en-US" sz="3599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 algn="l" defTabSz="914103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accent1"/>
              </a:buClr>
              <a:buFontTx/>
              <a:buNone/>
              <a:tabLst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90547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_3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CC3474-811F-B342-9D29-E222B00B2A7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Xerox Internal Use Only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27486" y="464903"/>
            <a:ext cx="11155633" cy="1224197"/>
          </a:xfrm>
          <a:prstGeom prst="rect">
            <a:avLst/>
          </a:prstGeom>
        </p:spPr>
        <p:txBody>
          <a:bodyPr lIns="0" rIns="0" anchor="t" anchorCtr="0"/>
          <a:lstStyle>
            <a:lvl1pPr>
              <a:defRPr lang="en-US" sz="3599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 algn="l" defTabSz="914103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accent1"/>
              </a:buClr>
              <a:buFontTx/>
              <a:buNone/>
              <a:tabLst/>
            </a:pPr>
            <a:r>
              <a:rPr lang="en-US"/>
              <a:t>Click to edit Master title style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520423" y="1892300"/>
            <a:ext cx="3597039" cy="40329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tabLst/>
              <a:defRPr sz="2399">
                <a:solidFill>
                  <a:schemeClr val="accent1"/>
                </a:solidFill>
              </a:defRPr>
            </a:lvl1pPr>
            <a:lvl2pPr marL="234875" indent="-234875">
              <a:lnSpc>
                <a:spcPct val="95000"/>
              </a:lnSpc>
              <a:buClrTx/>
              <a:tabLst/>
              <a:defRPr sz="2132">
                <a:solidFill>
                  <a:schemeClr val="tx1"/>
                </a:solidFill>
              </a:defRPr>
            </a:lvl2pPr>
            <a:lvl3pPr marL="477684" indent="-219003">
              <a:lnSpc>
                <a:spcPct val="95000"/>
              </a:lnSpc>
              <a:buClrTx/>
              <a:buFont typeface="Arial" panose="020B0604020202020204" pitchFamily="34" charset="0"/>
              <a:buChar char="‒"/>
              <a:tabLst/>
              <a:defRPr sz="1866">
                <a:solidFill>
                  <a:schemeClr val="tx1"/>
                </a:solidFill>
              </a:defRPr>
            </a:lvl3pPr>
            <a:lvl4pPr marL="709383" indent="-231699">
              <a:lnSpc>
                <a:spcPct val="95000"/>
              </a:lnSpc>
              <a:buClrTx/>
              <a:tabLst/>
              <a:defRPr sz="1600">
                <a:solidFill>
                  <a:schemeClr val="tx1"/>
                </a:solidFill>
              </a:defRPr>
            </a:lvl4pPr>
            <a:lvl5pPr marL="947431" indent="-228525">
              <a:lnSpc>
                <a:spcPct val="95000"/>
              </a:lnSpc>
              <a:buClrTx/>
              <a:buFont typeface="Arial" panose="020B0604020202020204" pitchFamily="34" charset="0"/>
              <a:buChar char="‒"/>
              <a:tabLst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4305354" y="1892300"/>
            <a:ext cx="3597039" cy="40329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tabLst/>
              <a:defRPr sz="2399">
                <a:solidFill>
                  <a:schemeClr val="accent1"/>
                </a:solidFill>
              </a:defRPr>
            </a:lvl1pPr>
            <a:lvl2pPr marL="234875" indent="-234875">
              <a:lnSpc>
                <a:spcPct val="95000"/>
              </a:lnSpc>
              <a:buClrTx/>
              <a:tabLst/>
              <a:defRPr sz="2132">
                <a:solidFill>
                  <a:schemeClr val="tx1"/>
                </a:solidFill>
              </a:defRPr>
            </a:lvl2pPr>
            <a:lvl3pPr marL="477684" indent="-219003">
              <a:lnSpc>
                <a:spcPct val="95000"/>
              </a:lnSpc>
              <a:buClrTx/>
              <a:buFont typeface="Arial" panose="020B0604020202020204" pitchFamily="34" charset="0"/>
              <a:buChar char="‒"/>
              <a:tabLst/>
              <a:defRPr sz="1866">
                <a:solidFill>
                  <a:schemeClr val="tx1"/>
                </a:solidFill>
              </a:defRPr>
            </a:lvl3pPr>
            <a:lvl4pPr marL="709383" indent="-231699">
              <a:lnSpc>
                <a:spcPct val="95000"/>
              </a:lnSpc>
              <a:buClrTx/>
              <a:tabLst/>
              <a:defRPr sz="1600">
                <a:solidFill>
                  <a:schemeClr val="tx1"/>
                </a:solidFill>
              </a:defRPr>
            </a:lvl4pPr>
            <a:lvl5pPr marL="947431" indent="-228525">
              <a:lnSpc>
                <a:spcPct val="95000"/>
              </a:lnSpc>
              <a:buClrTx/>
              <a:buFont typeface="Arial" panose="020B0604020202020204" pitchFamily="34" charset="0"/>
              <a:buChar char="‒"/>
              <a:tabLst/>
              <a:defRPr sz="1467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8086079" y="1892301"/>
            <a:ext cx="3597039" cy="40313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tabLst/>
              <a:defRPr sz="2399">
                <a:solidFill>
                  <a:schemeClr val="accent1"/>
                </a:solidFill>
              </a:defRPr>
            </a:lvl1pPr>
            <a:lvl2pPr marL="234875" indent="-234875">
              <a:lnSpc>
                <a:spcPct val="95000"/>
              </a:lnSpc>
              <a:buClrTx/>
              <a:tabLst/>
              <a:defRPr sz="2132">
                <a:solidFill>
                  <a:schemeClr val="tx1"/>
                </a:solidFill>
              </a:defRPr>
            </a:lvl2pPr>
            <a:lvl3pPr marL="477684" indent="-219003">
              <a:lnSpc>
                <a:spcPct val="95000"/>
              </a:lnSpc>
              <a:buClrTx/>
              <a:buFont typeface="Arial" panose="020B0604020202020204" pitchFamily="34" charset="0"/>
              <a:buChar char="‒"/>
              <a:tabLst/>
              <a:defRPr sz="1866">
                <a:solidFill>
                  <a:schemeClr val="tx1"/>
                </a:solidFill>
              </a:defRPr>
            </a:lvl3pPr>
            <a:lvl4pPr marL="709383" indent="-231699">
              <a:lnSpc>
                <a:spcPct val="95000"/>
              </a:lnSpc>
              <a:buClrTx/>
              <a:tabLst/>
              <a:defRPr sz="1600">
                <a:solidFill>
                  <a:schemeClr val="tx1"/>
                </a:solidFill>
              </a:defRPr>
            </a:lvl4pPr>
            <a:lvl5pPr marL="947431" indent="-228525">
              <a:lnSpc>
                <a:spcPct val="95000"/>
              </a:lnSpc>
              <a:buClrTx/>
              <a:buFont typeface="Arial" panose="020B0604020202020204" pitchFamily="34" charset="0"/>
              <a:buChar char="‒"/>
              <a:tabLst/>
              <a:defRPr sz="1467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58369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_3-Column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CC3474-811F-B342-9D29-E222B00B2A7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Xerox Internal Use Only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27486" y="464903"/>
            <a:ext cx="11155633" cy="1224197"/>
          </a:xfrm>
          <a:prstGeom prst="rect">
            <a:avLst/>
          </a:prstGeom>
        </p:spPr>
        <p:txBody>
          <a:bodyPr lIns="0" rIns="0" anchor="t" anchorCtr="0"/>
          <a:lstStyle>
            <a:lvl1pPr>
              <a:defRPr lang="en-US" sz="3599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 algn="l" defTabSz="914103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accent1"/>
              </a:buClr>
              <a:buFontTx/>
              <a:buNone/>
              <a:tabLst/>
            </a:pPr>
            <a:r>
              <a:rPr lang="en-US"/>
              <a:t>Click to edit Master title style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520423" y="1892300"/>
            <a:ext cx="3597039" cy="40329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tabLst/>
              <a:defRPr sz="2399">
                <a:solidFill>
                  <a:schemeClr val="accent6"/>
                </a:solidFill>
              </a:defRPr>
            </a:lvl1pPr>
            <a:lvl2pPr marL="234875" indent="-234875">
              <a:lnSpc>
                <a:spcPct val="95000"/>
              </a:lnSpc>
              <a:buClrTx/>
              <a:tabLst/>
              <a:defRPr sz="2132">
                <a:solidFill>
                  <a:schemeClr val="tx1"/>
                </a:solidFill>
              </a:defRPr>
            </a:lvl2pPr>
            <a:lvl3pPr marL="477684" indent="-219003">
              <a:lnSpc>
                <a:spcPct val="95000"/>
              </a:lnSpc>
              <a:buClrTx/>
              <a:buFont typeface="Arial" panose="020B0604020202020204" pitchFamily="34" charset="0"/>
              <a:buChar char="‒"/>
              <a:tabLst/>
              <a:defRPr sz="1866">
                <a:solidFill>
                  <a:schemeClr val="tx1"/>
                </a:solidFill>
              </a:defRPr>
            </a:lvl3pPr>
            <a:lvl4pPr marL="709383" indent="-231699">
              <a:lnSpc>
                <a:spcPct val="95000"/>
              </a:lnSpc>
              <a:buClrTx/>
              <a:tabLst/>
              <a:defRPr sz="1600">
                <a:solidFill>
                  <a:schemeClr val="tx1"/>
                </a:solidFill>
              </a:defRPr>
            </a:lvl4pPr>
            <a:lvl5pPr marL="947431" indent="-228525">
              <a:lnSpc>
                <a:spcPct val="95000"/>
              </a:lnSpc>
              <a:buClrTx/>
              <a:buFont typeface="Arial" panose="020B0604020202020204" pitchFamily="34" charset="0"/>
              <a:buChar char="‒"/>
              <a:tabLst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4305354" y="1892300"/>
            <a:ext cx="3597039" cy="40329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tabLst/>
              <a:defRPr sz="2399">
                <a:solidFill>
                  <a:schemeClr val="accent6"/>
                </a:solidFill>
              </a:defRPr>
            </a:lvl1pPr>
            <a:lvl2pPr marL="234875" indent="-234875">
              <a:lnSpc>
                <a:spcPct val="95000"/>
              </a:lnSpc>
              <a:buClrTx/>
              <a:tabLst/>
              <a:defRPr sz="2132">
                <a:solidFill>
                  <a:schemeClr val="tx1"/>
                </a:solidFill>
              </a:defRPr>
            </a:lvl2pPr>
            <a:lvl3pPr marL="477684" indent="-219003">
              <a:lnSpc>
                <a:spcPct val="95000"/>
              </a:lnSpc>
              <a:buClrTx/>
              <a:buFont typeface="Arial" panose="020B0604020202020204" pitchFamily="34" charset="0"/>
              <a:buChar char="‒"/>
              <a:tabLst/>
              <a:defRPr sz="1866">
                <a:solidFill>
                  <a:schemeClr val="tx1"/>
                </a:solidFill>
              </a:defRPr>
            </a:lvl3pPr>
            <a:lvl4pPr marL="709383" indent="-231699">
              <a:lnSpc>
                <a:spcPct val="95000"/>
              </a:lnSpc>
              <a:buClrTx/>
              <a:tabLst/>
              <a:defRPr sz="1600">
                <a:solidFill>
                  <a:schemeClr val="tx1"/>
                </a:solidFill>
              </a:defRPr>
            </a:lvl4pPr>
            <a:lvl5pPr marL="947431" indent="-228525">
              <a:lnSpc>
                <a:spcPct val="95000"/>
              </a:lnSpc>
              <a:buClrTx/>
              <a:buFont typeface="Arial" panose="020B0604020202020204" pitchFamily="34" charset="0"/>
              <a:buChar char="‒"/>
              <a:tabLst/>
              <a:defRPr sz="1467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8086079" y="1892301"/>
            <a:ext cx="3597039" cy="40313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tabLst/>
              <a:defRPr sz="2399">
                <a:solidFill>
                  <a:schemeClr val="accent6"/>
                </a:solidFill>
              </a:defRPr>
            </a:lvl1pPr>
            <a:lvl2pPr marL="234875" indent="-234875">
              <a:lnSpc>
                <a:spcPct val="95000"/>
              </a:lnSpc>
              <a:buClrTx/>
              <a:tabLst/>
              <a:defRPr sz="2132">
                <a:solidFill>
                  <a:schemeClr val="tx1"/>
                </a:solidFill>
              </a:defRPr>
            </a:lvl2pPr>
            <a:lvl3pPr marL="477684" indent="-219003">
              <a:lnSpc>
                <a:spcPct val="95000"/>
              </a:lnSpc>
              <a:buClrTx/>
              <a:buFont typeface="Arial" panose="020B0604020202020204" pitchFamily="34" charset="0"/>
              <a:buChar char="‒"/>
              <a:tabLst/>
              <a:defRPr sz="1866">
                <a:solidFill>
                  <a:schemeClr val="tx1"/>
                </a:solidFill>
              </a:defRPr>
            </a:lvl3pPr>
            <a:lvl4pPr marL="709383" indent="-231699">
              <a:lnSpc>
                <a:spcPct val="95000"/>
              </a:lnSpc>
              <a:buClrTx/>
              <a:tabLst/>
              <a:defRPr sz="1600">
                <a:solidFill>
                  <a:schemeClr val="tx1"/>
                </a:solidFill>
              </a:defRPr>
            </a:lvl4pPr>
            <a:lvl5pPr marL="947431" indent="-228525">
              <a:lnSpc>
                <a:spcPct val="95000"/>
              </a:lnSpc>
              <a:buClrTx/>
              <a:buFont typeface="Arial" panose="020B0604020202020204" pitchFamily="34" charset="0"/>
              <a:buChar char="‒"/>
              <a:tabLst/>
              <a:defRPr sz="1467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65773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-Left_and_Content_Slid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CC3474-811F-B342-9D29-E222B00B2A7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Xerox Internal Use Only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27486" y="464903"/>
            <a:ext cx="11155633" cy="1224197"/>
          </a:xfrm>
          <a:prstGeom prst="rect">
            <a:avLst/>
          </a:prstGeom>
        </p:spPr>
        <p:txBody>
          <a:bodyPr lIns="0" rIns="0" anchor="t" anchorCtr="0"/>
          <a:lstStyle>
            <a:lvl1pPr>
              <a:defRPr lang="en-US" sz="3599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 algn="l" defTabSz="914103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accent1"/>
              </a:buClr>
              <a:buFontTx/>
              <a:buNone/>
              <a:tabLst/>
            </a:pPr>
            <a:r>
              <a:rPr lang="en-US"/>
              <a:t>Click to edit Master title style</a:t>
            </a:r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3"/>
          </p:nvPr>
        </p:nvSpPr>
        <p:spPr>
          <a:xfrm>
            <a:off x="518449" y="1892302"/>
            <a:ext cx="5288172" cy="412961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6396062" y="1892300"/>
            <a:ext cx="5286034" cy="40329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tabLst/>
              <a:defRPr>
                <a:solidFill>
                  <a:schemeClr val="accent6"/>
                </a:solidFill>
              </a:defRPr>
            </a:lvl1pPr>
            <a:lvl2pPr marL="234875" indent="-234875">
              <a:lnSpc>
                <a:spcPct val="95000"/>
              </a:lnSpc>
              <a:buClrTx/>
              <a:tabLst/>
              <a:defRPr>
                <a:solidFill>
                  <a:schemeClr val="tx1"/>
                </a:solidFill>
              </a:defRPr>
            </a:lvl2pPr>
            <a:lvl3pPr marL="477684" indent="-219003">
              <a:lnSpc>
                <a:spcPct val="95000"/>
              </a:lnSpc>
              <a:buClrTx/>
              <a:buFont typeface="Arial" panose="020B0604020202020204" pitchFamily="34" charset="0"/>
              <a:buChar char="‒"/>
              <a:tabLst/>
              <a:defRPr>
                <a:solidFill>
                  <a:schemeClr val="tx1"/>
                </a:solidFill>
              </a:defRPr>
            </a:lvl3pPr>
            <a:lvl4pPr marL="709383" indent="-231699">
              <a:lnSpc>
                <a:spcPct val="95000"/>
              </a:lnSpc>
              <a:buClrTx/>
              <a:tabLst/>
              <a:defRPr sz="1799">
                <a:solidFill>
                  <a:schemeClr val="tx1"/>
                </a:solidFill>
              </a:defRPr>
            </a:lvl4pPr>
            <a:lvl5pPr marL="947431" indent="-228525">
              <a:lnSpc>
                <a:spcPct val="95000"/>
              </a:lnSpc>
              <a:buClrTx/>
              <a:buFont typeface="Arial" panose="020B0604020202020204" pitchFamily="34" charset="0"/>
              <a:buChar char="‒"/>
              <a:tabLst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72088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-Right_and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CC3474-811F-B342-9D29-E222B00B2A7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Xerox Internal Use Only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27486" y="464903"/>
            <a:ext cx="11155633" cy="1224197"/>
          </a:xfrm>
          <a:prstGeom prst="rect">
            <a:avLst/>
          </a:prstGeom>
        </p:spPr>
        <p:txBody>
          <a:bodyPr lIns="0" rIns="0" anchor="t" anchorCtr="0"/>
          <a:lstStyle>
            <a:lvl1pPr>
              <a:defRPr lang="en-US" sz="3599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 algn="l" defTabSz="914103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accent1"/>
              </a:buClr>
              <a:buFontTx/>
              <a:buNone/>
              <a:tabLst/>
            </a:pPr>
            <a:r>
              <a:rPr lang="en-US"/>
              <a:t>Click to edit Master title style</a:t>
            </a:r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3"/>
          </p:nvPr>
        </p:nvSpPr>
        <p:spPr>
          <a:xfrm>
            <a:off x="6394946" y="1892302"/>
            <a:ext cx="5288172" cy="412961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520422" y="1892300"/>
            <a:ext cx="5286034" cy="40329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tabLst/>
              <a:defRPr>
                <a:solidFill>
                  <a:schemeClr val="accent1"/>
                </a:solidFill>
              </a:defRPr>
            </a:lvl1pPr>
            <a:lvl2pPr marL="234875" indent="-234875">
              <a:lnSpc>
                <a:spcPct val="95000"/>
              </a:lnSpc>
              <a:buClrTx/>
              <a:tabLst/>
              <a:defRPr>
                <a:solidFill>
                  <a:schemeClr val="tx1"/>
                </a:solidFill>
              </a:defRPr>
            </a:lvl2pPr>
            <a:lvl3pPr marL="477684" indent="-219003">
              <a:lnSpc>
                <a:spcPct val="95000"/>
              </a:lnSpc>
              <a:buClrTx/>
              <a:buFont typeface="Arial" panose="020B0604020202020204" pitchFamily="34" charset="0"/>
              <a:buChar char="‒"/>
              <a:tabLst/>
              <a:defRPr>
                <a:solidFill>
                  <a:schemeClr val="tx1"/>
                </a:solidFill>
              </a:defRPr>
            </a:lvl3pPr>
            <a:lvl4pPr marL="709383" indent="-231699">
              <a:lnSpc>
                <a:spcPct val="95000"/>
              </a:lnSpc>
              <a:buClrTx/>
              <a:tabLst/>
              <a:defRPr sz="1799">
                <a:solidFill>
                  <a:schemeClr val="tx1"/>
                </a:solidFill>
              </a:defRPr>
            </a:lvl4pPr>
            <a:lvl5pPr marL="947431" indent="-228525">
              <a:lnSpc>
                <a:spcPct val="95000"/>
              </a:lnSpc>
              <a:buClrTx/>
              <a:buFont typeface="Arial" panose="020B0604020202020204" pitchFamily="34" charset="0"/>
              <a:buChar char="‒"/>
              <a:tabLst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05434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-Right_and_Content_Slid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CC3474-811F-B342-9D29-E222B00B2A7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Xerox Internal Use Only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27486" y="464903"/>
            <a:ext cx="11155633" cy="1224197"/>
          </a:xfrm>
          <a:prstGeom prst="rect">
            <a:avLst/>
          </a:prstGeom>
        </p:spPr>
        <p:txBody>
          <a:bodyPr lIns="0" rIns="0" anchor="t" anchorCtr="0"/>
          <a:lstStyle>
            <a:lvl1pPr>
              <a:defRPr lang="en-US" sz="3599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 algn="l" defTabSz="914103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accent1"/>
              </a:buClr>
              <a:buFontTx/>
              <a:buNone/>
              <a:tabLst/>
            </a:pPr>
            <a:r>
              <a:rPr lang="en-US"/>
              <a:t>Click to edit Master title style</a:t>
            </a:r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3"/>
          </p:nvPr>
        </p:nvSpPr>
        <p:spPr>
          <a:xfrm>
            <a:off x="6394946" y="1892302"/>
            <a:ext cx="5288172" cy="412961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520422" y="1892300"/>
            <a:ext cx="5286034" cy="40329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tabLst/>
              <a:defRPr>
                <a:solidFill>
                  <a:schemeClr val="accent6"/>
                </a:solidFill>
              </a:defRPr>
            </a:lvl1pPr>
            <a:lvl2pPr marL="234875" indent="-234875">
              <a:lnSpc>
                <a:spcPct val="95000"/>
              </a:lnSpc>
              <a:buClrTx/>
              <a:tabLst/>
              <a:defRPr>
                <a:solidFill>
                  <a:schemeClr val="tx1"/>
                </a:solidFill>
              </a:defRPr>
            </a:lvl2pPr>
            <a:lvl3pPr marL="477684" indent="-219003">
              <a:lnSpc>
                <a:spcPct val="95000"/>
              </a:lnSpc>
              <a:buClrTx/>
              <a:buFont typeface="Arial" panose="020B0604020202020204" pitchFamily="34" charset="0"/>
              <a:buChar char="‒"/>
              <a:tabLst/>
              <a:defRPr>
                <a:solidFill>
                  <a:schemeClr val="tx1"/>
                </a:solidFill>
              </a:defRPr>
            </a:lvl3pPr>
            <a:lvl4pPr marL="709383" indent="-231699">
              <a:lnSpc>
                <a:spcPct val="95000"/>
              </a:lnSpc>
              <a:buClrTx/>
              <a:tabLst/>
              <a:defRPr sz="1799">
                <a:solidFill>
                  <a:schemeClr val="tx1"/>
                </a:solidFill>
              </a:defRPr>
            </a:lvl4pPr>
            <a:lvl5pPr marL="947431" indent="-228525">
              <a:lnSpc>
                <a:spcPct val="95000"/>
              </a:lnSpc>
              <a:buClrTx/>
              <a:buFont typeface="Arial" panose="020B0604020202020204" pitchFamily="34" charset="0"/>
              <a:buChar char="‒"/>
              <a:tabLst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78174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2/25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92365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_Slide_Option-9_noMT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3"/>
          <p:cNvSpPr>
            <a:spLocks noGrp="1"/>
          </p:cNvSpPr>
          <p:nvPr>
            <p:ph type="title" hasCustomPrompt="1"/>
          </p:nvPr>
        </p:nvSpPr>
        <p:spPr>
          <a:xfrm>
            <a:off x="944215" y="1721795"/>
            <a:ext cx="4622017" cy="29845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4266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97177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Slide - 1 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520426" y="1892300"/>
            <a:ext cx="11155631" cy="40329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tabLst/>
              <a:defRPr>
                <a:solidFill>
                  <a:schemeClr val="accent1"/>
                </a:solidFill>
              </a:defRPr>
            </a:lvl1pPr>
            <a:lvl2pPr marL="176152" indent="-176152">
              <a:lnSpc>
                <a:spcPct val="95000"/>
              </a:lnSpc>
              <a:buClrTx/>
              <a:tabLst/>
              <a:defRPr>
                <a:solidFill>
                  <a:schemeClr val="tx1"/>
                </a:solidFill>
              </a:defRPr>
            </a:lvl2pPr>
            <a:lvl3pPr marL="358254" indent="-164250">
              <a:lnSpc>
                <a:spcPct val="95000"/>
              </a:lnSpc>
              <a:buClrTx/>
              <a:buFont typeface="Arial" panose="020B0604020202020204" pitchFamily="34" charset="0"/>
              <a:buChar char="‒"/>
              <a:tabLst/>
              <a:defRPr>
                <a:solidFill>
                  <a:schemeClr val="tx1"/>
                </a:solidFill>
              </a:defRPr>
            </a:lvl3pPr>
            <a:lvl4pPr marL="532024" indent="-173770">
              <a:lnSpc>
                <a:spcPct val="95000"/>
              </a:lnSpc>
              <a:buClrTx/>
              <a:tabLst/>
              <a:defRPr sz="1351">
                <a:solidFill>
                  <a:schemeClr val="tx1"/>
                </a:solidFill>
              </a:defRPr>
            </a:lvl4pPr>
            <a:lvl5pPr marL="710556" indent="-171391">
              <a:lnSpc>
                <a:spcPct val="95000"/>
              </a:lnSpc>
              <a:buClrTx/>
              <a:buFont typeface="Arial" panose="020B0604020202020204" pitchFamily="34" charset="0"/>
              <a:buChar char="‒"/>
              <a:tabLst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27487" y="464905"/>
            <a:ext cx="11155633" cy="1224197"/>
          </a:xfrm>
          <a:prstGeom prst="rect">
            <a:avLst/>
          </a:prstGeom>
        </p:spPr>
        <p:txBody>
          <a:bodyPr lIns="0" rIns="0" anchor="t" anchorCtr="0"/>
          <a:lstStyle>
            <a:lvl1pPr>
              <a:defRPr lang="en-US" sz="2699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 algn="l" defTabSz="685560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accent1"/>
              </a:buClr>
              <a:buFontTx/>
              <a:buNone/>
              <a:tabLst/>
            </a:pPr>
            <a:r>
              <a:rPr lang="en-US"/>
              <a:t>Click to edit Master title style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20FDC2BF-C57F-4767-9324-4CBDB762E3E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20424" y="6370839"/>
            <a:ext cx="48675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0CC3474-811F-B342-9D29-E222B00B2A7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461658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_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CC3474-811F-B342-9D29-E222B00B2A7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Xerox Internal Use Only</a:t>
            </a: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520423" y="1971475"/>
            <a:ext cx="11155631" cy="373542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tabLst/>
              <a:defRPr>
                <a:solidFill>
                  <a:schemeClr val="bg2"/>
                </a:solidFill>
              </a:defRPr>
            </a:lvl1pPr>
            <a:lvl2pPr marL="234875" indent="-234875">
              <a:lnSpc>
                <a:spcPct val="95000"/>
              </a:lnSpc>
              <a:spcAft>
                <a:spcPts val="400"/>
              </a:spcAft>
              <a:buClrTx/>
              <a:tabLst/>
              <a:defRPr>
                <a:solidFill>
                  <a:schemeClr val="tx1"/>
                </a:solidFill>
              </a:defRPr>
            </a:lvl2pPr>
            <a:lvl3pPr marL="477684" indent="-219003">
              <a:lnSpc>
                <a:spcPct val="95000"/>
              </a:lnSpc>
              <a:buClrTx/>
              <a:buFont typeface="Arial" panose="020B0604020202020204" pitchFamily="34" charset="0"/>
              <a:buChar char="‒"/>
              <a:tabLst/>
              <a:defRPr>
                <a:solidFill>
                  <a:schemeClr val="tx1"/>
                </a:solidFill>
              </a:defRPr>
            </a:lvl3pPr>
            <a:lvl4pPr marL="709383" indent="-231699">
              <a:lnSpc>
                <a:spcPct val="95000"/>
              </a:lnSpc>
              <a:buClrTx/>
              <a:tabLst/>
              <a:defRPr sz="1799">
                <a:solidFill>
                  <a:schemeClr val="tx1"/>
                </a:solidFill>
              </a:defRPr>
            </a:lvl4pPr>
            <a:lvl5pPr marL="947431" indent="-228525">
              <a:lnSpc>
                <a:spcPct val="95000"/>
              </a:lnSpc>
              <a:buClrTx/>
              <a:buFont typeface="Arial" panose="020B0604020202020204" pitchFamily="34" charset="0"/>
              <a:buChar char="‒"/>
              <a:tabLst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27486" y="464903"/>
            <a:ext cx="11155633" cy="1224197"/>
          </a:xfrm>
          <a:prstGeom prst="rect">
            <a:avLst/>
          </a:prstGeom>
        </p:spPr>
        <p:txBody>
          <a:bodyPr lIns="0" rIns="0" anchor="t" anchorCtr="0"/>
          <a:lstStyle>
            <a:lvl1pPr>
              <a:defRPr lang="en-US" sz="3599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 algn="l" defTabSz="914103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accent1"/>
              </a:buClr>
              <a:buFontTx/>
              <a:buNone/>
              <a:tabLst/>
            </a:pPr>
            <a:r>
              <a:rPr lang="en-US"/>
              <a:t>Click to edit Master title sty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234818-F007-4544-AB6D-561BFD530F33}"/>
              </a:ext>
            </a:extLst>
          </p:cNvPr>
          <p:cNvCxnSpPr/>
          <p:nvPr userDrawn="1"/>
        </p:nvCxnSpPr>
        <p:spPr>
          <a:xfrm>
            <a:off x="0" y="5888476"/>
            <a:ext cx="121888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E3E0D39-AA41-CB41-B766-2311CB32ECFB}"/>
              </a:ext>
            </a:extLst>
          </p:cNvPr>
          <p:cNvCxnSpPr/>
          <p:nvPr userDrawn="1"/>
        </p:nvCxnSpPr>
        <p:spPr>
          <a:xfrm>
            <a:off x="0" y="1689099"/>
            <a:ext cx="121888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1129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_Side-to-Side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F220C83-4C97-5645-B622-260D5802E2D0}"/>
              </a:ext>
            </a:extLst>
          </p:cNvPr>
          <p:cNvSpPr/>
          <p:nvPr userDrawn="1"/>
        </p:nvSpPr>
        <p:spPr>
          <a:xfrm>
            <a:off x="0" y="1892291"/>
            <a:ext cx="12188825" cy="40329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CC3474-811F-B342-9D29-E222B00B2A7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Xerox Internal Use Only</a:t>
            </a: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1" y="1892300"/>
            <a:ext cx="9433091" cy="4032976"/>
          </a:xfrm>
          <a:prstGeom prst="rect">
            <a:avLst/>
          </a:prstGeom>
          <a:noFill/>
        </p:spPr>
        <p:txBody>
          <a:bodyPr lIns="384048" tIns="274320" rIns="365760" bIns="274320" anchor="ctr" anchorCtr="0"/>
          <a:lstStyle>
            <a:lvl1pPr marL="0" indent="0">
              <a:lnSpc>
                <a:spcPct val="100000"/>
              </a:lnSpc>
              <a:spcAft>
                <a:spcPts val="800"/>
              </a:spcAft>
              <a:buNone/>
              <a:tabLst/>
              <a:defRPr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spcAft>
                <a:spcPts val="400"/>
              </a:spcAft>
              <a:buClrTx/>
              <a:buNone/>
              <a:tabLst/>
              <a:defRPr>
                <a:solidFill>
                  <a:schemeClr val="bg2"/>
                </a:solidFill>
              </a:defRPr>
            </a:lvl2pPr>
            <a:lvl3pPr marL="21160" indent="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3pPr>
            <a:lvl4pPr marL="21160" indent="0">
              <a:lnSpc>
                <a:spcPct val="100000"/>
              </a:lnSpc>
              <a:spcBef>
                <a:spcPts val="800"/>
              </a:spcBef>
              <a:buClrTx/>
              <a:buNone/>
              <a:tabLst/>
              <a:defRPr sz="1799">
                <a:solidFill>
                  <a:schemeClr val="bg1"/>
                </a:solidFill>
              </a:defRPr>
            </a:lvl4pPr>
            <a:lvl5pPr marL="21160" indent="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27486" y="464903"/>
            <a:ext cx="11155633" cy="1224197"/>
          </a:xfrm>
          <a:prstGeom prst="rect">
            <a:avLst/>
          </a:prstGeom>
        </p:spPr>
        <p:txBody>
          <a:bodyPr lIns="0" rIns="0" anchor="t" anchorCtr="0"/>
          <a:lstStyle>
            <a:lvl1pPr>
              <a:defRPr lang="en-US" sz="3599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 algn="l" defTabSz="914103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accent1"/>
              </a:buClr>
              <a:buFontTx/>
              <a:buNone/>
              <a:tabLst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225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2833" y="4406901"/>
            <a:ext cx="10360501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2833" y="2906713"/>
            <a:ext cx="10360501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493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898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848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79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746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696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645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594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2/25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81707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600201"/>
            <a:ext cx="5383398" cy="4525963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5986" y="1600201"/>
            <a:ext cx="5383398" cy="4525963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2/25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3186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535113"/>
            <a:ext cx="5385514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2174875"/>
            <a:ext cx="5385514" cy="3951288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1756" y="1535113"/>
            <a:ext cx="5387630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1756" y="2174875"/>
            <a:ext cx="5387630" cy="3951288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2/25/202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58990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2/25/20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9874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2/25/20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12494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273049"/>
            <a:ext cx="4010039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5492" y="273052"/>
            <a:ext cx="6813892" cy="5853113"/>
          </a:xfr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3" y="1435102"/>
            <a:ext cx="4010039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2/25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90817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19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274639"/>
            <a:ext cx="10969943" cy="711081"/>
          </a:xfrm>
          <a:prstGeom prst="rect">
            <a:avLst/>
          </a:prstGeom>
        </p:spPr>
        <p:txBody>
          <a:bodyPr vert="horz" lIns="0" tIns="60949" rIns="0" bIns="60949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138425"/>
            <a:ext cx="10969943" cy="4987739"/>
          </a:xfrm>
          <a:prstGeom prst="rect">
            <a:avLst/>
          </a:prstGeom>
        </p:spPr>
        <p:txBody>
          <a:bodyPr vert="horz" lIns="0" tIns="60949" rIns="0" bIns="60949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 vert="horz" lIns="0" tIns="60949" rIns="0" bIns="60949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5404F2-BE9A-4460-8815-8F645183555F}" type="datetimeFigureOut">
              <a:rPr lang="en-US" smtClean="0"/>
              <a:pPr/>
              <a:t>2/25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 vert="horz" lIns="0" tIns="60949" rIns="0" bIns="60949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 vert="horz" lIns="0" tIns="60949" rIns="0" bIns="60949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4508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txStyles>
    <p:titleStyle>
      <a:lvl1pPr algn="l" defTabSz="1218987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20" indent="-457120" algn="l" defTabSz="1218987" rtl="0" eaLnBrk="1" latinLnBrk="0" hangingPunct="1">
        <a:spcBef>
          <a:spcPct val="20000"/>
        </a:spcBef>
        <a:buFont typeface="Arial" pitchFamily="34" charset="0"/>
        <a:buChar char="•"/>
        <a:defRPr sz="3600" kern="1200">
          <a:solidFill>
            <a:schemeClr val="tx1"/>
          </a:solidFill>
          <a:latin typeface="+mj-lt"/>
          <a:ea typeface="+mn-ea"/>
          <a:cs typeface="+mn-cs"/>
        </a:defRPr>
      </a:lvl1pPr>
      <a:lvl2pPr marL="990427" indent="-380933" algn="l" defTabSz="1218987" rtl="0" eaLnBrk="1" latinLnBrk="0" hangingPunct="1">
        <a:spcBef>
          <a:spcPct val="20000"/>
        </a:spcBef>
        <a:buFont typeface="Arial" pitchFamily="34" charset="0"/>
        <a:buChar char="–"/>
        <a:defRPr sz="3200" kern="1200">
          <a:solidFill>
            <a:schemeClr val="tx1"/>
          </a:solidFill>
          <a:latin typeface="+mj-lt"/>
          <a:ea typeface="+mn-ea"/>
          <a:cs typeface="+mn-cs"/>
        </a:defRPr>
      </a:lvl2pPr>
      <a:lvl3pPr marL="152373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j-lt"/>
          <a:ea typeface="+mn-ea"/>
          <a:cs typeface="+mn-cs"/>
        </a:defRPr>
      </a:lvl3pPr>
      <a:lvl4pPr marL="2133227" indent="-304747" algn="l" defTabSz="1218987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j-lt"/>
          <a:ea typeface="+mn-ea"/>
          <a:cs typeface="+mn-cs"/>
        </a:defRPr>
      </a:lvl4pPr>
      <a:lvl5pPr marL="2742720" indent="-304747" algn="l" defTabSz="1218987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j-lt"/>
          <a:ea typeface="+mn-ea"/>
          <a:cs typeface="+mn-cs"/>
        </a:defRPr>
      </a:lvl5pPr>
      <a:lvl6pPr marL="335221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707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200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69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274639"/>
            <a:ext cx="10969943" cy="711081"/>
          </a:xfrm>
          <a:prstGeom prst="rect">
            <a:avLst/>
          </a:prstGeom>
        </p:spPr>
        <p:txBody>
          <a:bodyPr vert="horz" lIns="0" tIns="60949" rIns="0" bIns="60949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138425"/>
            <a:ext cx="10969943" cy="4987739"/>
          </a:xfrm>
          <a:prstGeom prst="rect">
            <a:avLst/>
          </a:prstGeom>
        </p:spPr>
        <p:txBody>
          <a:bodyPr vert="horz" lIns="0" tIns="60949" rIns="0" bIns="60949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 vert="horz" lIns="0" tIns="60949" rIns="0" bIns="60949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5404F2-BE9A-4460-8815-8F645183555F}" type="datetimeFigureOut">
              <a:rPr lang="en-US" smtClean="0"/>
              <a:pPr/>
              <a:t>2/25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 vert="horz" lIns="0" tIns="60949" rIns="0" bIns="60949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 vert="horz" lIns="0" tIns="60949" rIns="0" bIns="60949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43108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</p:sldLayoutIdLst>
  <p:txStyles>
    <p:titleStyle>
      <a:lvl1pPr algn="l" defTabSz="1218987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20" indent="-457120" algn="l" defTabSz="1218987" rtl="0" eaLnBrk="1" latinLnBrk="0" hangingPunct="1">
        <a:spcBef>
          <a:spcPct val="20000"/>
        </a:spcBef>
        <a:buFont typeface="Arial" pitchFamily="34" charset="0"/>
        <a:buChar char="•"/>
        <a:defRPr sz="3600" kern="1200">
          <a:solidFill>
            <a:schemeClr val="tx1"/>
          </a:solidFill>
          <a:latin typeface="+mj-lt"/>
          <a:ea typeface="+mn-ea"/>
          <a:cs typeface="+mn-cs"/>
        </a:defRPr>
      </a:lvl1pPr>
      <a:lvl2pPr marL="990427" indent="-380933" algn="l" defTabSz="1218987" rtl="0" eaLnBrk="1" latinLnBrk="0" hangingPunct="1">
        <a:spcBef>
          <a:spcPct val="20000"/>
        </a:spcBef>
        <a:buFont typeface="Arial" pitchFamily="34" charset="0"/>
        <a:buChar char="–"/>
        <a:defRPr sz="3200" kern="1200">
          <a:solidFill>
            <a:schemeClr val="tx1"/>
          </a:solidFill>
          <a:latin typeface="+mj-lt"/>
          <a:ea typeface="+mn-ea"/>
          <a:cs typeface="+mn-cs"/>
        </a:defRPr>
      </a:lvl2pPr>
      <a:lvl3pPr marL="152373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j-lt"/>
          <a:ea typeface="+mn-ea"/>
          <a:cs typeface="+mn-cs"/>
        </a:defRPr>
      </a:lvl3pPr>
      <a:lvl4pPr marL="2133227" indent="-304747" algn="l" defTabSz="1218987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j-lt"/>
          <a:ea typeface="+mn-ea"/>
          <a:cs typeface="+mn-cs"/>
        </a:defRPr>
      </a:lvl4pPr>
      <a:lvl5pPr marL="2742720" indent="-304747" algn="l" defTabSz="1218987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j-lt"/>
          <a:ea typeface="+mn-ea"/>
          <a:cs typeface="+mn-cs"/>
        </a:defRPr>
      </a:lvl5pPr>
      <a:lvl6pPr marL="335221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707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200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69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F62805E-F4D8-3F42-B43F-3F2C32536B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746622129"/>
              </p:ext>
            </p:extLst>
          </p:nvPr>
        </p:nvGraphicFramePr>
        <p:xfrm>
          <a:off x="2118" y="2118"/>
          <a:ext cx="2115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7772400" imgH="10058400" progId="TCLayout.ActiveDocument.1">
                  <p:embed/>
                </p:oleObj>
              </mc:Choice>
              <mc:Fallback>
                <p:oleObj name="think-cell Slide" r:id="rId20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F62805E-F4D8-3F42-B43F-3F2C32536B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5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20423" y="6370836"/>
            <a:ext cx="48675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80CC3474-811F-B342-9D29-E222B00B2A7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330474" y="6370836"/>
            <a:ext cx="1538979" cy="12311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marL="0" algn="l" defTabSz="457052" rtl="0" eaLnBrk="1" latinLnBrk="0" hangingPunct="1">
              <a:defRPr lang="en-US" sz="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078714" y="6369052"/>
            <a:ext cx="4072563" cy="12489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800" b="0" i="0" spc="133" baseline="0">
                <a:solidFill>
                  <a:schemeClr val="tx1"/>
                </a:solidFill>
                <a:latin typeface="Xerox Sans" panose="02000000000000000000" pitchFamily="2" charset="0"/>
              </a:defRPr>
            </a:lvl1pPr>
          </a:lstStyle>
          <a:p>
            <a:r>
              <a:rPr lang="en-US"/>
              <a:t>Xerox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6592894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9" r:id="rId1"/>
    <p:sldLayoutId id="2147483920" r:id="rId2"/>
    <p:sldLayoutId id="2147483921" r:id="rId3"/>
    <p:sldLayoutId id="2147483922" r:id="rId4"/>
    <p:sldLayoutId id="2147483923" r:id="rId5"/>
    <p:sldLayoutId id="2147483924" r:id="rId6"/>
    <p:sldLayoutId id="2147483925" r:id="rId7"/>
    <p:sldLayoutId id="2147483926" r:id="rId8"/>
    <p:sldLayoutId id="2147483927" r:id="rId9"/>
    <p:sldLayoutId id="2147483928" r:id="rId10"/>
    <p:sldLayoutId id="2147483929" r:id="rId11"/>
    <p:sldLayoutId id="2147483930" r:id="rId12"/>
    <p:sldLayoutId id="2147483931" r:id="rId13"/>
    <p:sldLayoutId id="2147483932" r:id="rId14"/>
    <p:sldLayoutId id="2147483933" r:id="rId15"/>
    <p:sldLayoutId id="2147483934" r:id="rId16"/>
    <p:sldLayoutId id="2147483935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103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25" indent="-228525" algn="l" defTabSz="914103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+mn-lt"/>
          <a:ea typeface="+mn-ea"/>
          <a:cs typeface="+mn-cs"/>
        </a:defRPr>
      </a:lvl1pPr>
      <a:lvl2pPr marL="685577" indent="-228525" algn="l" defTabSz="914103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142628" indent="-228525" algn="l" defTabSz="914103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3pPr>
      <a:lvl4pPr marL="1599680" indent="-228525" algn="l" defTabSz="914103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2056732" indent="-228525" algn="l" defTabSz="914103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513783" indent="-228525" algn="l" defTabSz="9141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834" indent="-228525" algn="l" defTabSz="9141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885" indent="-228525" algn="l" defTabSz="9141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937" indent="-228525" algn="l" defTabSz="9141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52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03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55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05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257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08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360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412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880">
          <p15:clr>
            <a:srgbClr val="F26B43"/>
          </p15:clr>
        </p15:guide>
        <p15:guide id="3" orient="horz" pos="3009">
          <p15:clr>
            <a:srgbClr val="F26B43"/>
          </p15:clr>
        </p15:guide>
        <p15:guide id="5" pos="5531">
          <p15:clr>
            <a:srgbClr val="F26B43"/>
          </p15:clr>
        </p15:guide>
        <p15:guide id="6" pos="245">
          <p15:clr>
            <a:srgbClr val="F26B43"/>
          </p15:clr>
        </p15:guide>
        <p15:guide id="7" orient="horz" pos="2208">
          <p15:clr>
            <a:srgbClr val="F26B43"/>
          </p15:clr>
        </p15:guide>
        <p15:guide id="8" orient="horz" pos="798">
          <p15:clr>
            <a:srgbClr val="F26B43"/>
          </p15:clr>
        </p15:guide>
        <p15:guide id="9" orient="horz" pos="2604">
          <p15:clr>
            <a:srgbClr val="F26B43"/>
          </p15:clr>
        </p15:guide>
        <p15:guide id="10" orient="horz" pos="894">
          <p15:clr>
            <a:srgbClr val="F26B43"/>
          </p15:clr>
        </p15:guide>
        <p15:guide id="11" orient="horz" pos="2932">
          <p15:clr>
            <a:srgbClr val="F26B43"/>
          </p15:clr>
        </p15:guide>
        <p15:guide id="12" orient="horz" pos="162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Relationship Id="rId4" Type="http://schemas.openxmlformats.org/officeDocument/2006/relationships/hyperlink" Target="http://www.linkedin.com/in/kenfraser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2BF6A6E-7922-136B-EBAD-7E39056104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Oval 118">
            <a:extLst>
              <a:ext uri="{FF2B5EF4-FFF2-40B4-BE49-F238E27FC236}">
                <a16:creationId xmlns:a16="http://schemas.microsoft.com/office/drawing/2014/main" id="{A0A251C8-7840-1B29-0A90-9E1865D25009}"/>
              </a:ext>
            </a:extLst>
          </p:cNvPr>
          <p:cNvSpPr/>
          <p:nvPr/>
        </p:nvSpPr>
        <p:spPr>
          <a:xfrm>
            <a:off x="8183302" y="6472777"/>
            <a:ext cx="743704" cy="74370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5" name="Freeform: Shape 74">
            <a:extLst>
              <a:ext uri="{FF2B5EF4-FFF2-40B4-BE49-F238E27FC236}">
                <a16:creationId xmlns:a16="http://schemas.microsoft.com/office/drawing/2014/main" id="{A77F9AEC-10D1-CB2D-84A0-F65F34A3AFCD}"/>
              </a:ext>
            </a:extLst>
          </p:cNvPr>
          <p:cNvSpPr/>
          <p:nvPr/>
        </p:nvSpPr>
        <p:spPr>
          <a:xfrm flipH="1">
            <a:off x="0" y="1299166"/>
            <a:ext cx="6519477" cy="5558836"/>
          </a:xfrm>
          <a:custGeom>
            <a:avLst/>
            <a:gdLst>
              <a:gd name="connsiteX0" fmla="*/ 5558836 w 6519477"/>
              <a:gd name="connsiteY0" fmla="*/ 0 h 5558836"/>
              <a:gd name="connsiteX1" fmla="*/ 0 w 6519477"/>
              <a:gd name="connsiteY1" fmla="*/ 5558836 h 5558836"/>
              <a:gd name="connsiteX2" fmla="*/ 6519477 w 6519477"/>
              <a:gd name="connsiteY2" fmla="*/ 5558836 h 5558836"/>
              <a:gd name="connsiteX3" fmla="*/ 6519477 w 6519477"/>
              <a:gd name="connsiteY3" fmla="*/ 84875 h 5558836"/>
              <a:gd name="connsiteX4" fmla="*/ 6266828 w 6519477"/>
              <a:gd name="connsiteY4" fmla="*/ 44661 h 5558836"/>
              <a:gd name="connsiteX5" fmla="*/ 5558836 w 6519477"/>
              <a:gd name="connsiteY5" fmla="*/ 0 h 555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19477" h="5558836">
                <a:moveTo>
                  <a:pt x="5558836" y="0"/>
                </a:moveTo>
                <a:cubicBezTo>
                  <a:pt x="2488776" y="0"/>
                  <a:pt x="0" y="2488776"/>
                  <a:pt x="0" y="5558836"/>
                </a:cubicBezTo>
                <a:lnTo>
                  <a:pt x="6519477" y="5558836"/>
                </a:lnTo>
                <a:lnTo>
                  <a:pt x="6519477" y="84875"/>
                </a:lnTo>
                <a:lnTo>
                  <a:pt x="6266828" y="44661"/>
                </a:lnTo>
                <a:cubicBezTo>
                  <a:pt x="6034985" y="15190"/>
                  <a:pt x="5798684" y="0"/>
                  <a:pt x="5558836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3">
                  <a:lumMod val="5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1E2B957B-A772-7BB6-75AB-815FF5B0173F}"/>
              </a:ext>
            </a:extLst>
          </p:cNvPr>
          <p:cNvSpPr/>
          <p:nvPr/>
        </p:nvSpPr>
        <p:spPr>
          <a:xfrm>
            <a:off x="9602312" y="1"/>
            <a:ext cx="2586513" cy="1212887"/>
          </a:xfrm>
          <a:custGeom>
            <a:avLst/>
            <a:gdLst>
              <a:gd name="connsiteX0" fmla="*/ 0 w 2586513"/>
              <a:gd name="connsiteY0" fmla="*/ 0 h 1212887"/>
              <a:gd name="connsiteX1" fmla="*/ 2586513 w 2586513"/>
              <a:gd name="connsiteY1" fmla="*/ 0 h 1212887"/>
              <a:gd name="connsiteX2" fmla="*/ 2586513 w 2586513"/>
              <a:gd name="connsiteY2" fmla="*/ 1197266 h 1212887"/>
              <a:gd name="connsiteX3" fmla="*/ 2578101 w 2586513"/>
              <a:gd name="connsiteY3" fmla="*/ 1198550 h 1212887"/>
              <a:gd name="connsiteX4" fmla="*/ 2294167 w 2586513"/>
              <a:gd name="connsiteY4" fmla="*/ 1212887 h 1212887"/>
              <a:gd name="connsiteX5" fmla="*/ 151285 w 2586513"/>
              <a:gd name="connsiteY5" fmla="*/ 202310 h 1212887"/>
              <a:gd name="connsiteX6" fmla="*/ 0 w 2586513"/>
              <a:gd name="connsiteY6" fmla="*/ 0 h 1212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86513" h="1212887">
                <a:moveTo>
                  <a:pt x="0" y="0"/>
                </a:moveTo>
                <a:lnTo>
                  <a:pt x="2586513" y="0"/>
                </a:lnTo>
                <a:lnTo>
                  <a:pt x="2586513" y="1197266"/>
                </a:lnTo>
                <a:lnTo>
                  <a:pt x="2578101" y="1198550"/>
                </a:lnTo>
                <a:cubicBezTo>
                  <a:pt x="2484746" y="1208030"/>
                  <a:pt x="2390024" y="1212887"/>
                  <a:pt x="2294167" y="1212887"/>
                </a:cubicBezTo>
                <a:cubicBezTo>
                  <a:pt x="1431458" y="1212887"/>
                  <a:pt x="660631" y="819495"/>
                  <a:pt x="151285" y="202310"/>
                </a:cubicBez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4001528-8F5B-D3BD-7D3E-EE20FA070205}"/>
              </a:ext>
            </a:extLst>
          </p:cNvPr>
          <p:cNvSpPr txBox="1"/>
          <p:nvPr/>
        </p:nvSpPr>
        <p:spPr>
          <a:xfrm>
            <a:off x="3048640" y="589527"/>
            <a:ext cx="5227092" cy="762745"/>
          </a:xfrm>
          <a:prstGeom prst="rect">
            <a:avLst/>
          </a:prstGeom>
          <a:noFill/>
          <a:ln>
            <a:solidFill>
              <a:schemeClr val="tx2">
                <a:lumMod val="75000"/>
              </a:schemeClr>
            </a:solidFill>
          </a:ln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echnology leader and portfolio manager with 20+ years of experience steering multi-million-dollar modernization, cloud, AI, and transformation programs across Fortune 100 organizations</a:t>
            </a:r>
            <a:endParaRPr kumimoji="0" lang="en-IN" sz="13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F6A7120-C3F5-26CD-D83B-7EE7C3A541E5}"/>
              </a:ext>
            </a:extLst>
          </p:cNvPr>
          <p:cNvSpPr txBox="1"/>
          <p:nvPr/>
        </p:nvSpPr>
        <p:spPr>
          <a:xfrm>
            <a:off x="516467" y="3317332"/>
            <a:ext cx="4855883" cy="5566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Segoe UI Black" panose="020B0A02040204020203" pitchFamily="34" charset="0"/>
                <a:cs typeface="+mn-cs"/>
              </a:rPr>
              <a:t>Kenrick Fraser,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Segoe UI Black" panose="020B0A02040204020203" pitchFamily="34" charset="0"/>
                <a:cs typeface="+mn-cs"/>
              </a:rPr>
              <a:t>DM, PMP</a:t>
            </a: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Segoe UI Black" panose="020B0A02040204020203" pitchFamily="34" charset="0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F80C00F-FA33-EEAF-6E2C-146B81C02279}"/>
              </a:ext>
            </a:extLst>
          </p:cNvPr>
          <p:cNvSpPr/>
          <p:nvPr/>
        </p:nvSpPr>
        <p:spPr>
          <a:xfrm>
            <a:off x="547913" y="3851210"/>
            <a:ext cx="4012197" cy="338554"/>
          </a:xfrm>
          <a:prstGeom prst="rect">
            <a:avLst/>
          </a:prstGeom>
        </p:spPr>
        <p:txBody>
          <a:bodyPr wrap="square" lIns="0" rIns="0" anchor="ctr">
            <a:sp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Open Sans Light" panose="020B0306030504020204" pitchFamily="34" charset="0"/>
                <a:cs typeface="Open Sans Light" panose="020B0306030504020204" pitchFamily="34" charset="0"/>
              </a:rPr>
              <a:t>Principal Consultant &amp; IT Portfolio Manager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02D1B58-7079-4BB6-3BBF-0DB501B6090B}"/>
              </a:ext>
            </a:extLst>
          </p:cNvPr>
          <p:cNvSpPr/>
          <p:nvPr/>
        </p:nvSpPr>
        <p:spPr>
          <a:xfrm>
            <a:off x="1053852" y="5826750"/>
            <a:ext cx="2146683" cy="338554"/>
          </a:xfrm>
          <a:prstGeom prst="rect">
            <a:avLst/>
          </a:prstGeom>
        </p:spPr>
        <p:txBody>
          <a:bodyPr wrap="square" lIns="0" rIns="0" anchor="t">
            <a:sp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Open Sans Light" panose="020B0306030504020204" pitchFamily="34" charset="0"/>
                <a:cs typeface="Open Sans Light" panose="020B0306030504020204" pitchFamily="34" charset="0"/>
              </a:rPr>
              <a:t>+1 919 307 6571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4E29D4ED-EF29-E51A-2D38-E2FA2E4CF016}"/>
              </a:ext>
            </a:extLst>
          </p:cNvPr>
          <p:cNvGrpSpPr/>
          <p:nvPr/>
        </p:nvGrpSpPr>
        <p:grpSpPr>
          <a:xfrm>
            <a:off x="3168753" y="5773413"/>
            <a:ext cx="382666" cy="382666"/>
            <a:chOff x="580136" y="6233224"/>
            <a:chExt cx="382666" cy="382666"/>
          </a:xfrm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780E33E3-1E6C-D24C-FAA7-232C711FD131}"/>
                </a:ext>
              </a:extLst>
            </p:cNvPr>
            <p:cNvSpPr/>
            <p:nvPr/>
          </p:nvSpPr>
          <p:spPr>
            <a:xfrm>
              <a:off x="580136" y="6233224"/>
              <a:ext cx="382666" cy="382666"/>
            </a:xfrm>
            <a:prstGeom prst="ellips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" name="Freeform 5">
              <a:extLst>
                <a:ext uri="{FF2B5EF4-FFF2-40B4-BE49-F238E27FC236}">
                  <a16:creationId xmlns:a16="http://schemas.microsoft.com/office/drawing/2014/main" id="{0383B4FA-B63C-C9D4-D7B3-3C030B7ED4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0182" y="6366693"/>
              <a:ext cx="162575" cy="115729"/>
            </a:xfrm>
            <a:custGeom>
              <a:avLst/>
              <a:gdLst>
                <a:gd name="T0" fmla="*/ 2079 w 2084"/>
                <a:gd name="T1" fmla="*/ 45 h 1482"/>
                <a:gd name="T2" fmla="*/ 2073 w 2084"/>
                <a:gd name="T3" fmla="*/ 31 h 1482"/>
                <a:gd name="T4" fmla="*/ 2069 w 2084"/>
                <a:gd name="T5" fmla="*/ 23 h 1482"/>
                <a:gd name="T6" fmla="*/ 2069 w 2084"/>
                <a:gd name="T7" fmla="*/ 23 h 1482"/>
                <a:gd name="T8" fmla="*/ 2046 w 2084"/>
                <a:gd name="T9" fmla="*/ 5 h 1482"/>
                <a:gd name="T10" fmla="*/ 2033 w 2084"/>
                <a:gd name="T11" fmla="*/ 1 h 1482"/>
                <a:gd name="T12" fmla="*/ 2018 w 2084"/>
                <a:gd name="T13" fmla="*/ 1 h 1482"/>
                <a:gd name="T14" fmla="*/ 70 w 2084"/>
                <a:gd name="T15" fmla="*/ 1 h 1482"/>
                <a:gd name="T16" fmla="*/ 55 w 2084"/>
                <a:gd name="T17" fmla="*/ 1 h 1482"/>
                <a:gd name="T18" fmla="*/ 42 w 2084"/>
                <a:gd name="T19" fmla="*/ 5 h 1482"/>
                <a:gd name="T20" fmla="*/ 31 w 2084"/>
                <a:gd name="T21" fmla="*/ 13 h 1482"/>
                <a:gd name="T22" fmla="*/ 20 w 2084"/>
                <a:gd name="T23" fmla="*/ 22 h 1482"/>
                <a:gd name="T24" fmla="*/ 20 w 2084"/>
                <a:gd name="T25" fmla="*/ 22 h 1482"/>
                <a:gd name="T26" fmla="*/ 16 w 2084"/>
                <a:gd name="T27" fmla="*/ 31 h 1482"/>
                <a:gd name="T28" fmla="*/ 0 w 2084"/>
                <a:gd name="T29" fmla="*/ 60 h 1482"/>
                <a:gd name="T30" fmla="*/ 0 w 2084"/>
                <a:gd name="T31" fmla="*/ 69 h 1482"/>
                <a:gd name="T32" fmla="*/ 0 w 2084"/>
                <a:gd name="T33" fmla="*/ 1408 h 1482"/>
                <a:gd name="T34" fmla="*/ 75 w 2084"/>
                <a:gd name="T35" fmla="*/ 1482 h 1482"/>
                <a:gd name="T36" fmla="*/ 2009 w 2084"/>
                <a:gd name="T37" fmla="*/ 1482 h 1482"/>
                <a:gd name="T38" fmla="*/ 2084 w 2084"/>
                <a:gd name="T39" fmla="*/ 1408 h 1482"/>
                <a:gd name="T40" fmla="*/ 2084 w 2084"/>
                <a:gd name="T41" fmla="*/ 69 h 1482"/>
                <a:gd name="T42" fmla="*/ 2084 w 2084"/>
                <a:gd name="T43" fmla="*/ 60 h 1482"/>
                <a:gd name="T44" fmla="*/ 2079 w 2084"/>
                <a:gd name="T45" fmla="*/ 45 h 1482"/>
                <a:gd name="T46" fmla="*/ 1791 w 2084"/>
                <a:gd name="T47" fmla="*/ 143 h 1482"/>
                <a:gd name="T48" fmla="*/ 1042 w 2084"/>
                <a:gd name="T49" fmla="*/ 719 h 1482"/>
                <a:gd name="T50" fmla="*/ 293 w 2084"/>
                <a:gd name="T51" fmla="*/ 143 h 1482"/>
                <a:gd name="T52" fmla="*/ 1791 w 2084"/>
                <a:gd name="T53" fmla="*/ 143 h 1482"/>
                <a:gd name="T54" fmla="*/ 1935 w 2084"/>
                <a:gd name="T55" fmla="*/ 1333 h 1482"/>
                <a:gd name="T56" fmla="*/ 149 w 2084"/>
                <a:gd name="T57" fmla="*/ 1333 h 1482"/>
                <a:gd name="T58" fmla="*/ 149 w 2084"/>
                <a:gd name="T59" fmla="*/ 217 h 1482"/>
                <a:gd name="T60" fmla="*/ 997 w 2084"/>
                <a:gd name="T61" fmla="*/ 869 h 1482"/>
                <a:gd name="T62" fmla="*/ 1087 w 2084"/>
                <a:gd name="T63" fmla="*/ 869 h 1482"/>
                <a:gd name="T64" fmla="*/ 1935 w 2084"/>
                <a:gd name="T65" fmla="*/ 217 h 1482"/>
                <a:gd name="T66" fmla="*/ 1935 w 2084"/>
                <a:gd name="T67" fmla="*/ 1333 h 1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084" h="1482">
                  <a:moveTo>
                    <a:pt x="2079" y="45"/>
                  </a:moveTo>
                  <a:cubicBezTo>
                    <a:pt x="2078" y="40"/>
                    <a:pt x="2075" y="36"/>
                    <a:pt x="2073" y="31"/>
                  </a:cubicBezTo>
                  <a:cubicBezTo>
                    <a:pt x="2072" y="28"/>
                    <a:pt x="2070" y="26"/>
                    <a:pt x="2069" y="23"/>
                  </a:cubicBezTo>
                  <a:cubicBezTo>
                    <a:pt x="2069" y="23"/>
                    <a:pt x="2069" y="23"/>
                    <a:pt x="2069" y="23"/>
                  </a:cubicBezTo>
                  <a:cubicBezTo>
                    <a:pt x="2062" y="16"/>
                    <a:pt x="2054" y="10"/>
                    <a:pt x="2046" y="5"/>
                  </a:cubicBezTo>
                  <a:cubicBezTo>
                    <a:pt x="2033" y="1"/>
                    <a:pt x="2033" y="1"/>
                    <a:pt x="2033" y="1"/>
                  </a:cubicBezTo>
                  <a:cubicBezTo>
                    <a:pt x="2018" y="1"/>
                    <a:pt x="2018" y="1"/>
                    <a:pt x="2018" y="1"/>
                  </a:cubicBezTo>
                  <a:cubicBezTo>
                    <a:pt x="70" y="1"/>
                    <a:pt x="70" y="1"/>
                    <a:pt x="70" y="1"/>
                  </a:cubicBezTo>
                  <a:cubicBezTo>
                    <a:pt x="65" y="0"/>
                    <a:pt x="60" y="0"/>
                    <a:pt x="55" y="1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38" y="7"/>
                    <a:pt x="34" y="10"/>
                    <a:pt x="31" y="13"/>
                  </a:cubicBezTo>
                  <a:cubicBezTo>
                    <a:pt x="27" y="16"/>
                    <a:pt x="23" y="19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18" y="25"/>
                    <a:pt x="17" y="28"/>
                    <a:pt x="16" y="31"/>
                  </a:cubicBezTo>
                  <a:cubicBezTo>
                    <a:pt x="8" y="39"/>
                    <a:pt x="3" y="49"/>
                    <a:pt x="0" y="60"/>
                  </a:cubicBezTo>
                  <a:cubicBezTo>
                    <a:pt x="0" y="63"/>
                    <a:pt x="0" y="66"/>
                    <a:pt x="0" y="69"/>
                  </a:cubicBezTo>
                  <a:cubicBezTo>
                    <a:pt x="0" y="1408"/>
                    <a:pt x="0" y="1408"/>
                    <a:pt x="0" y="1408"/>
                  </a:cubicBezTo>
                  <a:cubicBezTo>
                    <a:pt x="0" y="1449"/>
                    <a:pt x="34" y="1482"/>
                    <a:pt x="75" y="1482"/>
                  </a:cubicBezTo>
                  <a:cubicBezTo>
                    <a:pt x="2009" y="1482"/>
                    <a:pt x="2009" y="1482"/>
                    <a:pt x="2009" y="1482"/>
                  </a:cubicBezTo>
                  <a:cubicBezTo>
                    <a:pt x="2050" y="1482"/>
                    <a:pt x="2084" y="1449"/>
                    <a:pt x="2084" y="1408"/>
                  </a:cubicBezTo>
                  <a:cubicBezTo>
                    <a:pt x="2084" y="69"/>
                    <a:pt x="2084" y="69"/>
                    <a:pt x="2084" y="69"/>
                  </a:cubicBezTo>
                  <a:cubicBezTo>
                    <a:pt x="2084" y="66"/>
                    <a:pt x="2084" y="63"/>
                    <a:pt x="2084" y="60"/>
                  </a:cubicBezTo>
                  <a:cubicBezTo>
                    <a:pt x="2083" y="54"/>
                    <a:pt x="2081" y="49"/>
                    <a:pt x="2079" y="45"/>
                  </a:cubicBezTo>
                  <a:close/>
                  <a:moveTo>
                    <a:pt x="1791" y="143"/>
                  </a:moveTo>
                  <a:cubicBezTo>
                    <a:pt x="1042" y="719"/>
                    <a:pt x="1042" y="719"/>
                    <a:pt x="1042" y="719"/>
                  </a:cubicBezTo>
                  <a:cubicBezTo>
                    <a:pt x="293" y="143"/>
                    <a:pt x="293" y="143"/>
                    <a:pt x="293" y="143"/>
                  </a:cubicBezTo>
                  <a:lnTo>
                    <a:pt x="1791" y="143"/>
                  </a:lnTo>
                  <a:close/>
                  <a:moveTo>
                    <a:pt x="1935" y="1333"/>
                  </a:moveTo>
                  <a:cubicBezTo>
                    <a:pt x="149" y="1333"/>
                    <a:pt x="149" y="1333"/>
                    <a:pt x="149" y="1333"/>
                  </a:cubicBezTo>
                  <a:cubicBezTo>
                    <a:pt x="149" y="217"/>
                    <a:pt x="149" y="217"/>
                    <a:pt x="149" y="217"/>
                  </a:cubicBezTo>
                  <a:cubicBezTo>
                    <a:pt x="997" y="869"/>
                    <a:pt x="997" y="869"/>
                    <a:pt x="997" y="869"/>
                  </a:cubicBezTo>
                  <a:cubicBezTo>
                    <a:pt x="1023" y="890"/>
                    <a:pt x="1061" y="890"/>
                    <a:pt x="1087" y="869"/>
                  </a:cubicBezTo>
                  <a:cubicBezTo>
                    <a:pt x="1935" y="217"/>
                    <a:pt x="1935" y="217"/>
                    <a:pt x="1935" y="217"/>
                  </a:cubicBezTo>
                  <a:lnTo>
                    <a:pt x="1935" y="133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08E751BE-CBEF-D905-0E4A-3C048EB31D3E}"/>
              </a:ext>
            </a:extLst>
          </p:cNvPr>
          <p:cNvGrpSpPr/>
          <p:nvPr/>
        </p:nvGrpSpPr>
        <p:grpSpPr>
          <a:xfrm>
            <a:off x="477788" y="5773413"/>
            <a:ext cx="382666" cy="382666"/>
            <a:chOff x="580136" y="5515607"/>
            <a:chExt cx="382666" cy="382666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DD5C8C84-6F16-53B8-A8BE-E14404748292}"/>
                </a:ext>
              </a:extLst>
            </p:cNvPr>
            <p:cNvSpPr/>
            <p:nvPr/>
          </p:nvSpPr>
          <p:spPr>
            <a:xfrm>
              <a:off x="580136" y="5515607"/>
              <a:ext cx="382666" cy="382666"/>
            </a:xfrm>
            <a:prstGeom prst="ellips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" name="Freeform 6">
              <a:extLst>
                <a:ext uri="{FF2B5EF4-FFF2-40B4-BE49-F238E27FC236}">
                  <a16:creationId xmlns:a16="http://schemas.microsoft.com/office/drawing/2014/main" id="{24B20E2B-23AD-8025-B844-A9AC7B5178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8800" y="5634428"/>
              <a:ext cx="145339" cy="145024"/>
            </a:xfrm>
            <a:custGeom>
              <a:avLst/>
              <a:gdLst>
                <a:gd name="T0" fmla="*/ 1339 w 1863"/>
                <a:gd name="T1" fmla="*/ 1857 h 1857"/>
                <a:gd name="T2" fmla="*/ 1339 w 1863"/>
                <a:gd name="T3" fmla="*/ 1857 h 1857"/>
                <a:gd name="T4" fmla="*/ 392 w 1863"/>
                <a:gd name="T5" fmla="*/ 1464 h 1857"/>
                <a:gd name="T6" fmla="*/ 0 w 1863"/>
                <a:gd name="T7" fmla="*/ 518 h 1857"/>
                <a:gd name="T8" fmla="*/ 454 w 1863"/>
                <a:gd name="T9" fmla="*/ 1 h 1857"/>
                <a:gd name="T10" fmla="*/ 455 w 1863"/>
                <a:gd name="T11" fmla="*/ 1 h 1857"/>
                <a:gd name="T12" fmla="*/ 473 w 1863"/>
                <a:gd name="T13" fmla="*/ 0 h 1857"/>
                <a:gd name="T14" fmla="*/ 609 w 1863"/>
                <a:gd name="T15" fmla="*/ 90 h 1857"/>
                <a:gd name="T16" fmla="*/ 796 w 1863"/>
                <a:gd name="T17" fmla="*/ 526 h 1857"/>
                <a:gd name="T18" fmla="*/ 784 w 1863"/>
                <a:gd name="T19" fmla="*/ 666 h 1857"/>
                <a:gd name="T20" fmla="*/ 629 w 1863"/>
                <a:gd name="T21" fmla="*/ 902 h 1857"/>
                <a:gd name="T22" fmla="*/ 629 w 1863"/>
                <a:gd name="T23" fmla="*/ 903 h 1857"/>
                <a:gd name="T24" fmla="*/ 957 w 1863"/>
                <a:gd name="T25" fmla="*/ 1229 h 1857"/>
                <a:gd name="T26" fmla="*/ 1190 w 1863"/>
                <a:gd name="T27" fmla="*/ 1074 h 1857"/>
                <a:gd name="T28" fmla="*/ 1272 w 1863"/>
                <a:gd name="T29" fmla="*/ 1049 h 1857"/>
                <a:gd name="T30" fmla="*/ 1331 w 1863"/>
                <a:gd name="T31" fmla="*/ 1061 h 1857"/>
                <a:gd name="T32" fmla="*/ 1766 w 1863"/>
                <a:gd name="T33" fmla="*/ 1247 h 1857"/>
                <a:gd name="T34" fmla="*/ 1855 w 1863"/>
                <a:gd name="T35" fmla="*/ 1402 h 1857"/>
                <a:gd name="T36" fmla="*/ 1855 w 1863"/>
                <a:gd name="T37" fmla="*/ 1402 h 1857"/>
                <a:gd name="T38" fmla="*/ 1339 w 1863"/>
                <a:gd name="T39" fmla="*/ 1857 h 1857"/>
                <a:gd name="T40" fmla="*/ 473 w 1863"/>
                <a:gd name="T41" fmla="*/ 148 h 1857"/>
                <a:gd name="T42" fmla="*/ 148 w 1863"/>
                <a:gd name="T43" fmla="*/ 518 h 1857"/>
                <a:gd name="T44" fmla="*/ 1339 w 1863"/>
                <a:gd name="T45" fmla="*/ 1709 h 1857"/>
                <a:gd name="T46" fmla="*/ 1708 w 1863"/>
                <a:gd name="T47" fmla="*/ 1384 h 1857"/>
                <a:gd name="T48" fmla="*/ 1708 w 1863"/>
                <a:gd name="T49" fmla="*/ 1383 h 1857"/>
                <a:gd name="T50" fmla="*/ 1272 w 1863"/>
                <a:gd name="T51" fmla="*/ 1197 h 1857"/>
                <a:gd name="T52" fmla="*/ 1039 w 1863"/>
                <a:gd name="T53" fmla="*/ 1352 h 1857"/>
                <a:gd name="T54" fmla="*/ 957 w 1863"/>
                <a:gd name="T55" fmla="*/ 1377 h 1857"/>
                <a:gd name="T56" fmla="*/ 957 w 1863"/>
                <a:gd name="T57" fmla="*/ 1377 h 1857"/>
                <a:gd name="T58" fmla="*/ 894 w 1863"/>
                <a:gd name="T59" fmla="*/ 1363 h 1857"/>
                <a:gd name="T60" fmla="*/ 893 w 1863"/>
                <a:gd name="T61" fmla="*/ 1363 h 1857"/>
                <a:gd name="T62" fmla="*/ 496 w 1863"/>
                <a:gd name="T63" fmla="*/ 967 h 1857"/>
                <a:gd name="T64" fmla="*/ 495 w 1863"/>
                <a:gd name="T65" fmla="*/ 966 h 1857"/>
                <a:gd name="T66" fmla="*/ 505 w 1863"/>
                <a:gd name="T67" fmla="*/ 821 h 1857"/>
                <a:gd name="T68" fmla="*/ 660 w 1863"/>
                <a:gd name="T69" fmla="*/ 585 h 1857"/>
                <a:gd name="T70" fmla="*/ 473 w 1863"/>
                <a:gd name="T71" fmla="*/ 148 h 18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63" h="1857">
                  <a:moveTo>
                    <a:pt x="1339" y="1857"/>
                  </a:moveTo>
                  <a:cubicBezTo>
                    <a:pt x="1339" y="1857"/>
                    <a:pt x="1339" y="1857"/>
                    <a:pt x="1339" y="1857"/>
                  </a:cubicBezTo>
                  <a:cubicBezTo>
                    <a:pt x="981" y="1857"/>
                    <a:pt x="645" y="1717"/>
                    <a:pt x="392" y="1464"/>
                  </a:cubicBezTo>
                  <a:cubicBezTo>
                    <a:pt x="139" y="1211"/>
                    <a:pt x="0" y="875"/>
                    <a:pt x="0" y="518"/>
                  </a:cubicBezTo>
                  <a:cubicBezTo>
                    <a:pt x="0" y="256"/>
                    <a:pt x="195" y="34"/>
                    <a:pt x="454" y="1"/>
                  </a:cubicBezTo>
                  <a:cubicBezTo>
                    <a:pt x="455" y="1"/>
                    <a:pt x="455" y="1"/>
                    <a:pt x="455" y="1"/>
                  </a:cubicBezTo>
                  <a:cubicBezTo>
                    <a:pt x="461" y="0"/>
                    <a:pt x="467" y="0"/>
                    <a:pt x="473" y="0"/>
                  </a:cubicBezTo>
                  <a:cubicBezTo>
                    <a:pt x="532" y="0"/>
                    <a:pt x="586" y="36"/>
                    <a:pt x="609" y="90"/>
                  </a:cubicBezTo>
                  <a:cubicBezTo>
                    <a:pt x="796" y="526"/>
                    <a:pt x="796" y="526"/>
                    <a:pt x="796" y="526"/>
                  </a:cubicBezTo>
                  <a:cubicBezTo>
                    <a:pt x="816" y="572"/>
                    <a:pt x="811" y="624"/>
                    <a:pt x="784" y="666"/>
                  </a:cubicBezTo>
                  <a:cubicBezTo>
                    <a:pt x="629" y="902"/>
                    <a:pt x="629" y="902"/>
                    <a:pt x="629" y="902"/>
                  </a:cubicBezTo>
                  <a:cubicBezTo>
                    <a:pt x="629" y="902"/>
                    <a:pt x="629" y="902"/>
                    <a:pt x="629" y="903"/>
                  </a:cubicBezTo>
                  <a:cubicBezTo>
                    <a:pt x="698" y="1044"/>
                    <a:pt x="815" y="1160"/>
                    <a:pt x="957" y="1229"/>
                  </a:cubicBezTo>
                  <a:cubicBezTo>
                    <a:pt x="1190" y="1074"/>
                    <a:pt x="1190" y="1074"/>
                    <a:pt x="1190" y="1074"/>
                  </a:cubicBezTo>
                  <a:cubicBezTo>
                    <a:pt x="1214" y="1057"/>
                    <a:pt x="1243" y="1049"/>
                    <a:pt x="1272" y="1049"/>
                  </a:cubicBezTo>
                  <a:cubicBezTo>
                    <a:pt x="1292" y="1049"/>
                    <a:pt x="1312" y="1053"/>
                    <a:pt x="1331" y="1061"/>
                  </a:cubicBezTo>
                  <a:cubicBezTo>
                    <a:pt x="1766" y="1247"/>
                    <a:pt x="1766" y="1247"/>
                    <a:pt x="1766" y="1247"/>
                  </a:cubicBezTo>
                  <a:cubicBezTo>
                    <a:pt x="1827" y="1273"/>
                    <a:pt x="1863" y="1336"/>
                    <a:pt x="1855" y="1402"/>
                  </a:cubicBezTo>
                  <a:cubicBezTo>
                    <a:pt x="1855" y="1402"/>
                    <a:pt x="1855" y="1402"/>
                    <a:pt x="1855" y="1402"/>
                  </a:cubicBezTo>
                  <a:cubicBezTo>
                    <a:pt x="1822" y="1661"/>
                    <a:pt x="1600" y="1857"/>
                    <a:pt x="1339" y="1857"/>
                  </a:cubicBezTo>
                  <a:close/>
                  <a:moveTo>
                    <a:pt x="473" y="148"/>
                  </a:moveTo>
                  <a:cubicBezTo>
                    <a:pt x="288" y="172"/>
                    <a:pt x="148" y="331"/>
                    <a:pt x="148" y="518"/>
                  </a:cubicBezTo>
                  <a:cubicBezTo>
                    <a:pt x="148" y="1174"/>
                    <a:pt x="682" y="1709"/>
                    <a:pt x="1339" y="1709"/>
                  </a:cubicBezTo>
                  <a:cubicBezTo>
                    <a:pt x="1526" y="1709"/>
                    <a:pt x="1684" y="1569"/>
                    <a:pt x="1708" y="1384"/>
                  </a:cubicBezTo>
                  <a:cubicBezTo>
                    <a:pt x="1708" y="1384"/>
                    <a:pt x="1708" y="1383"/>
                    <a:pt x="1708" y="1383"/>
                  </a:cubicBezTo>
                  <a:cubicBezTo>
                    <a:pt x="1272" y="1197"/>
                    <a:pt x="1272" y="1197"/>
                    <a:pt x="1272" y="1197"/>
                  </a:cubicBezTo>
                  <a:cubicBezTo>
                    <a:pt x="1039" y="1352"/>
                    <a:pt x="1039" y="1352"/>
                    <a:pt x="1039" y="1352"/>
                  </a:cubicBezTo>
                  <a:cubicBezTo>
                    <a:pt x="1015" y="1368"/>
                    <a:pt x="986" y="1377"/>
                    <a:pt x="957" y="1377"/>
                  </a:cubicBezTo>
                  <a:cubicBezTo>
                    <a:pt x="957" y="1377"/>
                    <a:pt x="957" y="1377"/>
                    <a:pt x="957" y="1377"/>
                  </a:cubicBezTo>
                  <a:cubicBezTo>
                    <a:pt x="935" y="1377"/>
                    <a:pt x="913" y="1372"/>
                    <a:pt x="894" y="1363"/>
                  </a:cubicBezTo>
                  <a:cubicBezTo>
                    <a:pt x="893" y="1363"/>
                    <a:pt x="893" y="1363"/>
                    <a:pt x="893" y="1363"/>
                  </a:cubicBezTo>
                  <a:cubicBezTo>
                    <a:pt x="721" y="1279"/>
                    <a:pt x="580" y="1139"/>
                    <a:pt x="496" y="967"/>
                  </a:cubicBezTo>
                  <a:cubicBezTo>
                    <a:pt x="495" y="967"/>
                    <a:pt x="495" y="967"/>
                    <a:pt x="495" y="966"/>
                  </a:cubicBezTo>
                  <a:cubicBezTo>
                    <a:pt x="473" y="920"/>
                    <a:pt x="477" y="864"/>
                    <a:pt x="505" y="821"/>
                  </a:cubicBezTo>
                  <a:cubicBezTo>
                    <a:pt x="660" y="585"/>
                    <a:pt x="660" y="585"/>
                    <a:pt x="660" y="585"/>
                  </a:cubicBezTo>
                  <a:cubicBezTo>
                    <a:pt x="473" y="148"/>
                    <a:pt x="473" y="148"/>
                    <a:pt x="473" y="148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B11BE964-3728-1E27-C528-433290CCAAF8}"/>
              </a:ext>
            </a:extLst>
          </p:cNvPr>
          <p:cNvGrpSpPr/>
          <p:nvPr/>
        </p:nvGrpSpPr>
        <p:grpSpPr>
          <a:xfrm>
            <a:off x="425652" y="4869160"/>
            <a:ext cx="4804664" cy="392159"/>
            <a:chOff x="580136" y="4871299"/>
            <a:chExt cx="4804664" cy="392159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6D895F97-EEB3-2537-EBF2-75F69F5DF0E1}"/>
                </a:ext>
              </a:extLst>
            </p:cNvPr>
            <p:cNvSpPr/>
            <p:nvPr/>
          </p:nvSpPr>
          <p:spPr>
            <a:xfrm>
              <a:off x="1167668" y="4871299"/>
              <a:ext cx="4217132" cy="338554"/>
            </a:xfrm>
            <a:prstGeom prst="rect">
              <a:avLst/>
            </a:prstGeom>
          </p:spPr>
          <p:txBody>
            <a:bodyPr wrap="square" lIns="0" rIns="0" anchor="t">
              <a:spAutoFit/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Open Sans Light" panose="020B0306030504020204" pitchFamily="34" charset="0"/>
                  <a:cs typeface="Open Sans Light" panose="020B0306030504020204" pitchFamily="34" charset="0"/>
                </a:rPr>
                <a:t>Nashville, North Carolina</a:t>
              </a:r>
            </a:p>
          </p:txBody>
        </p: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D6A7F400-AB13-69B5-3758-F3E6F1E7FB8C}"/>
                </a:ext>
              </a:extLst>
            </p:cNvPr>
            <p:cNvGrpSpPr/>
            <p:nvPr/>
          </p:nvGrpSpPr>
          <p:grpSpPr>
            <a:xfrm>
              <a:off x="580136" y="4880792"/>
              <a:ext cx="382666" cy="382666"/>
              <a:chOff x="580136" y="4797989"/>
              <a:chExt cx="382666" cy="382666"/>
            </a:xfrm>
          </p:grpSpPr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C4536F30-88B4-8708-B744-C3DEB3F8B707}"/>
                  </a:ext>
                </a:extLst>
              </p:cNvPr>
              <p:cNvSpPr/>
              <p:nvPr/>
            </p:nvSpPr>
            <p:spPr>
              <a:xfrm>
                <a:off x="580136" y="4797989"/>
                <a:ext cx="382666" cy="382666"/>
              </a:xfrm>
              <a:prstGeom prst="ellipse">
                <a:avLst/>
              </a:prstGeom>
              <a:solidFill>
                <a:schemeClr val="accent3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2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6C8781DB-7119-451F-7B46-A03CC7F88528}"/>
                  </a:ext>
                </a:extLst>
              </p:cNvPr>
              <p:cNvGrpSpPr/>
              <p:nvPr/>
            </p:nvGrpSpPr>
            <p:grpSpPr>
              <a:xfrm>
                <a:off x="708081" y="4914979"/>
                <a:ext cx="126777" cy="148686"/>
                <a:chOff x="-1588" y="1560513"/>
                <a:chExt cx="3187700" cy="3738563"/>
              </a:xfrm>
              <a:solidFill>
                <a:schemeClr val="bg1"/>
              </a:solidFill>
            </p:grpSpPr>
            <p:sp>
              <p:nvSpPr>
                <p:cNvPr id="38" name="Freeform 7">
                  <a:extLst>
                    <a:ext uri="{FF2B5EF4-FFF2-40B4-BE49-F238E27FC236}">
                      <a16:creationId xmlns:a16="http://schemas.microsoft.com/office/drawing/2014/main" id="{B6D8FA08-74A7-E88A-AFCE-0F07FD836D6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588" y="1560513"/>
                  <a:ext cx="3187700" cy="3738563"/>
                </a:xfrm>
                <a:custGeom>
                  <a:avLst/>
                  <a:gdLst>
                    <a:gd name="T0" fmla="*/ 812 w 1625"/>
                    <a:gd name="T1" fmla="*/ 1904 h 1904"/>
                    <a:gd name="T2" fmla="*/ 709 w 1625"/>
                    <a:gd name="T3" fmla="*/ 1868 h 1904"/>
                    <a:gd name="T4" fmla="*/ 208 w 1625"/>
                    <a:gd name="T5" fmla="*/ 1399 h 1904"/>
                    <a:gd name="T6" fmla="*/ 0 w 1625"/>
                    <a:gd name="T7" fmla="*/ 815 h 1904"/>
                    <a:gd name="T8" fmla="*/ 0 w 1625"/>
                    <a:gd name="T9" fmla="*/ 812 h 1904"/>
                    <a:gd name="T10" fmla="*/ 0 w 1625"/>
                    <a:gd name="T11" fmla="*/ 810 h 1904"/>
                    <a:gd name="T12" fmla="*/ 238 w 1625"/>
                    <a:gd name="T13" fmla="*/ 237 h 1904"/>
                    <a:gd name="T14" fmla="*/ 811 w 1625"/>
                    <a:gd name="T15" fmla="*/ 0 h 1904"/>
                    <a:gd name="T16" fmla="*/ 814 w 1625"/>
                    <a:gd name="T17" fmla="*/ 0 h 1904"/>
                    <a:gd name="T18" fmla="*/ 1623 w 1625"/>
                    <a:gd name="T19" fmla="*/ 815 h 1904"/>
                    <a:gd name="T20" fmla="*/ 1623 w 1625"/>
                    <a:gd name="T21" fmla="*/ 823 h 1904"/>
                    <a:gd name="T22" fmla="*/ 1623 w 1625"/>
                    <a:gd name="T23" fmla="*/ 825 h 1904"/>
                    <a:gd name="T24" fmla="*/ 1269 w 1625"/>
                    <a:gd name="T25" fmla="*/ 1575 h 1904"/>
                    <a:gd name="T26" fmla="*/ 1268 w 1625"/>
                    <a:gd name="T27" fmla="*/ 1576 h 1904"/>
                    <a:gd name="T28" fmla="*/ 914 w 1625"/>
                    <a:gd name="T29" fmla="*/ 1868 h 1904"/>
                    <a:gd name="T30" fmla="*/ 812 w 1625"/>
                    <a:gd name="T31" fmla="*/ 1904 h 1904"/>
                    <a:gd name="T32" fmla="*/ 148 w 1625"/>
                    <a:gd name="T33" fmla="*/ 811 h 1904"/>
                    <a:gd name="T34" fmla="*/ 326 w 1625"/>
                    <a:gd name="T35" fmla="*/ 1309 h 1904"/>
                    <a:gd name="T36" fmla="*/ 327 w 1625"/>
                    <a:gd name="T37" fmla="*/ 1310 h 1904"/>
                    <a:gd name="T38" fmla="*/ 793 w 1625"/>
                    <a:gd name="T39" fmla="*/ 1747 h 1904"/>
                    <a:gd name="T40" fmla="*/ 801 w 1625"/>
                    <a:gd name="T41" fmla="*/ 1753 h 1904"/>
                    <a:gd name="T42" fmla="*/ 812 w 1625"/>
                    <a:gd name="T43" fmla="*/ 1756 h 1904"/>
                    <a:gd name="T44" fmla="*/ 821 w 1625"/>
                    <a:gd name="T45" fmla="*/ 1753 h 1904"/>
                    <a:gd name="T46" fmla="*/ 830 w 1625"/>
                    <a:gd name="T47" fmla="*/ 1746 h 1904"/>
                    <a:gd name="T48" fmla="*/ 1162 w 1625"/>
                    <a:gd name="T49" fmla="*/ 1473 h 1904"/>
                    <a:gd name="T50" fmla="*/ 1475 w 1625"/>
                    <a:gd name="T51" fmla="*/ 822 h 1904"/>
                    <a:gd name="T52" fmla="*/ 1475 w 1625"/>
                    <a:gd name="T53" fmla="*/ 815 h 1904"/>
                    <a:gd name="T54" fmla="*/ 814 w 1625"/>
                    <a:gd name="T55" fmla="*/ 148 h 1904"/>
                    <a:gd name="T56" fmla="*/ 811 w 1625"/>
                    <a:gd name="T57" fmla="*/ 148 h 1904"/>
                    <a:gd name="T58" fmla="*/ 148 w 1625"/>
                    <a:gd name="T59" fmla="*/ 810 h 1904"/>
                    <a:gd name="T60" fmla="*/ 148 w 1625"/>
                    <a:gd name="T61" fmla="*/ 811 h 19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625" h="1904">
                      <a:moveTo>
                        <a:pt x="812" y="1904"/>
                      </a:moveTo>
                      <a:cubicBezTo>
                        <a:pt x="774" y="1904"/>
                        <a:pt x="738" y="1892"/>
                        <a:pt x="709" y="1868"/>
                      </a:cubicBezTo>
                      <a:cubicBezTo>
                        <a:pt x="515" y="1741"/>
                        <a:pt x="347" y="1583"/>
                        <a:pt x="208" y="1399"/>
                      </a:cubicBezTo>
                      <a:cubicBezTo>
                        <a:pt x="79" y="1229"/>
                        <a:pt x="7" y="1027"/>
                        <a:pt x="0" y="815"/>
                      </a:cubicBezTo>
                      <a:cubicBezTo>
                        <a:pt x="0" y="814"/>
                        <a:pt x="0" y="813"/>
                        <a:pt x="0" y="812"/>
                      </a:cubicBezTo>
                      <a:cubicBezTo>
                        <a:pt x="0" y="810"/>
                        <a:pt x="0" y="810"/>
                        <a:pt x="0" y="810"/>
                      </a:cubicBezTo>
                      <a:cubicBezTo>
                        <a:pt x="0" y="593"/>
                        <a:pt x="85" y="390"/>
                        <a:pt x="238" y="237"/>
                      </a:cubicBezTo>
                      <a:cubicBezTo>
                        <a:pt x="392" y="84"/>
                        <a:pt x="595" y="0"/>
                        <a:pt x="811" y="0"/>
                      </a:cubicBezTo>
                      <a:cubicBezTo>
                        <a:pt x="814" y="0"/>
                        <a:pt x="814" y="0"/>
                        <a:pt x="814" y="0"/>
                      </a:cubicBezTo>
                      <a:cubicBezTo>
                        <a:pt x="1262" y="2"/>
                        <a:pt x="1625" y="367"/>
                        <a:pt x="1623" y="815"/>
                      </a:cubicBezTo>
                      <a:cubicBezTo>
                        <a:pt x="1623" y="823"/>
                        <a:pt x="1623" y="823"/>
                        <a:pt x="1623" y="823"/>
                      </a:cubicBezTo>
                      <a:cubicBezTo>
                        <a:pt x="1623" y="824"/>
                        <a:pt x="1623" y="824"/>
                        <a:pt x="1623" y="825"/>
                      </a:cubicBezTo>
                      <a:cubicBezTo>
                        <a:pt x="1617" y="1142"/>
                        <a:pt x="1427" y="1408"/>
                        <a:pt x="1269" y="1575"/>
                      </a:cubicBezTo>
                      <a:cubicBezTo>
                        <a:pt x="1269" y="1575"/>
                        <a:pt x="1269" y="1576"/>
                        <a:pt x="1268" y="1576"/>
                      </a:cubicBezTo>
                      <a:cubicBezTo>
                        <a:pt x="1162" y="1686"/>
                        <a:pt x="1043" y="1785"/>
                        <a:pt x="914" y="1868"/>
                      </a:cubicBezTo>
                      <a:cubicBezTo>
                        <a:pt x="885" y="1892"/>
                        <a:pt x="849" y="1904"/>
                        <a:pt x="812" y="1904"/>
                      </a:cubicBezTo>
                      <a:close/>
                      <a:moveTo>
                        <a:pt x="148" y="811"/>
                      </a:moveTo>
                      <a:cubicBezTo>
                        <a:pt x="154" y="992"/>
                        <a:pt x="216" y="1165"/>
                        <a:pt x="326" y="1309"/>
                      </a:cubicBezTo>
                      <a:cubicBezTo>
                        <a:pt x="326" y="1309"/>
                        <a:pt x="327" y="1309"/>
                        <a:pt x="327" y="1310"/>
                      </a:cubicBezTo>
                      <a:cubicBezTo>
                        <a:pt x="456" y="1482"/>
                        <a:pt x="613" y="1629"/>
                        <a:pt x="793" y="1747"/>
                      </a:cubicBezTo>
                      <a:cubicBezTo>
                        <a:pt x="796" y="1748"/>
                        <a:pt x="799" y="1750"/>
                        <a:pt x="801" y="1753"/>
                      </a:cubicBezTo>
                      <a:cubicBezTo>
                        <a:pt x="805" y="1756"/>
                        <a:pt x="809" y="1756"/>
                        <a:pt x="812" y="1756"/>
                      </a:cubicBezTo>
                      <a:cubicBezTo>
                        <a:pt x="814" y="1756"/>
                        <a:pt x="818" y="1756"/>
                        <a:pt x="821" y="1753"/>
                      </a:cubicBezTo>
                      <a:cubicBezTo>
                        <a:pt x="824" y="1750"/>
                        <a:pt x="827" y="1748"/>
                        <a:pt x="830" y="1746"/>
                      </a:cubicBezTo>
                      <a:cubicBezTo>
                        <a:pt x="951" y="1669"/>
                        <a:pt x="1062" y="1577"/>
                        <a:pt x="1162" y="1473"/>
                      </a:cubicBezTo>
                      <a:cubicBezTo>
                        <a:pt x="1302" y="1325"/>
                        <a:pt x="1470" y="1092"/>
                        <a:pt x="1475" y="822"/>
                      </a:cubicBezTo>
                      <a:cubicBezTo>
                        <a:pt x="1475" y="815"/>
                        <a:pt x="1475" y="815"/>
                        <a:pt x="1475" y="815"/>
                      </a:cubicBezTo>
                      <a:cubicBezTo>
                        <a:pt x="1477" y="448"/>
                        <a:pt x="1180" y="150"/>
                        <a:pt x="814" y="148"/>
                      </a:cubicBezTo>
                      <a:cubicBezTo>
                        <a:pt x="811" y="148"/>
                        <a:pt x="811" y="148"/>
                        <a:pt x="811" y="148"/>
                      </a:cubicBezTo>
                      <a:cubicBezTo>
                        <a:pt x="447" y="148"/>
                        <a:pt x="149" y="445"/>
                        <a:pt x="148" y="810"/>
                      </a:cubicBezTo>
                      <a:lnTo>
                        <a:pt x="148" y="81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21898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24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" name="Freeform 8">
                  <a:extLst>
                    <a:ext uri="{FF2B5EF4-FFF2-40B4-BE49-F238E27FC236}">
                      <a16:creationId xmlns:a16="http://schemas.microsoft.com/office/drawing/2014/main" id="{2B71EDF1-6833-2064-9D11-F906169C712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81075" y="2568575"/>
                  <a:ext cx="1217613" cy="1220788"/>
                </a:xfrm>
                <a:custGeom>
                  <a:avLst/>
                  <a:gdLst>
                    <a:gd name="T0" fmla="*/ 311 w 621"/>
                    <a:gd name="T1" fmla="*/ 622 h 622"/>
                    <a:gd name="T2" fmla="*/ 0 w 621"/>
                    <a:gd name="T3" fmla="*/ 311 h 622"/>
                    <a:gd name="T4" fmla="*/ 311 w 621"/>
                    <a:gd name="T5" fmla="*/ 0 h 622"/>
                    <a:gd name="T6" fmla="*/ 621 w 621"/>
                    <a:gd name="T7" fmla="*/ 311 h 622"/>
                    <a:gd name="T8" fmla="*/ 311 w 621"/>
                    <a:gd name="T9" fmla="*/ 622 h 622"/>
                    <a:gd name="T10" fmla="*/ 311 w 621"/>
                    <a:gd name="T11" fmla="*/ 148 h 622"/>
                    <a:gd name="T12" fmla="*/ 148 w 621"/>
                    <a:gd name="T13" fmla="*/ 311 h 622"/>
                    <a:gd name="T14" fmla="*/ 311 w 621"/>
                    <a:gd name="T15" fmla="*/ 474 h 622"/>
                    <a:gd name="T16" fmla="*/ 473 w 621"/>
                    <a:gd name="T17" fmla="*/ 311 h 622"/>
                    <a:gd name="T18" fmla="*/ 311 w 621"/>
                    <a:gd name="T19" fmla="*/ 148 h 6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21" h="622">
                      <a:moveTo>
                        <a:pt x="311" y="622"/>
                      </a:moveTo>
                      <a:cubicBezTo>
                        <a:pt x="139" y="622"/>
                        <a:pt x="0" y="482"/>
                        <a:pt x="0" y="311"/>
                      </a:cubicBezTo>
                      <a:cubicBezTo>
                        <a:pt x="0" y="140"/>
                        <a:pt x="139" y="0"/>
                        <a:pt x="311" y="0"/>
                      </a:cubicBezTo>
                      <a:cubicBezTo>
                        <a:pt x="482" y="0"/>
                        <a:pt x="621" y="140"/>
                        <a:pt x="621" y="311"/>
                      </a:cubicBezTo>
                      <a:cubicBezTo>
                        <a:pt x="621" y="482"/>
                        <a:pt x="482" y="622"/>
                        <a:pt x="311" y="622"/>
                      </a:cubicBezTo>
                      <a:close/>
                      <a:moveTo>
                        <a:pt x="311" y="148"/>
                      </a:moveTo>
                      <a:cubicBezTo>
                        <a:pt x="221" y="148"/>
                        <a:pt x="148" y="221"/>
                        <a:pt x="148" y="311"/>
                      </a:cubicBezTo>
                      <a:cubicBezTo>
                        <a:pt x="148" y="401"/>
                        <a:pt x="221" y="474"/>
                        <a:pt x="311" y="474"/>
                      </a:cubicBezTo>
                      <a:cubicBezTo>
                        <a:pt x="400" y="474"/>
                        <a:pt x="473" y="401"/>
                        <a:pt x="473" y="311"/>
                      </a:cubicBezTo>
                      <a:cubicBezTo>
                        <a:pt x="473" y="221"/>
                        <a:pt x="400" y="148"/>
                        <a:pt x="311" y="148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21898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24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DEF8541E-C8E9-A8EB-5B81-4B4EDCF713B5}"/>
              </a:ext>
            </a:extLst>
          </p:cNvPr>
          <p:cNvSpPr/>
          <p:nvPr/>
        </p:nvSpPr>
        <p:spPr>
          <a:xfrm>
            <a:off x="9202697" y="386423"/>
            <a:ext cx="2657292" cy="6137026"/>
          </a:xfrm>
          <a:prstGeom prst="roundRect">
            <a:avLst>
              <a:gd name="adj" fmla="val 809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40DDBB1C-7297-5966-AF74-CC2E350098EB}"/>
              </a:ext>
            </a:extLst>
          </p:cNvPr>
          <p:cNvSpPr/>
          <p:nvPr/>
        </p:nvSpPr>
        <p:spPr>
          <a:xfrm>
            <a:off x="4230751" y="2357648"/>
            <a:ext cx="270496" cy="270496"/>
          </a:xfrm>
          <a:prstGeom prst="ellipse">
            <a:avLst/>
          </a:prstGeom>
          <a:solidFill>
            <a:schemeClr val="accent2"/>
          </a:solidFill>
          <a:ln w="571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E21E6720-2F9A-18C9-4EDF-503149FBAFCA}"/>
              </a:ext>
            </a:extLst>
          </p:cNvPr>
          <p:cNvGrpSpPr/>
          <p:nvPr/>
        </p:nvGrpSpPr>
        <p:grpSpPr>
          <a:xfrm>
            <a:off x="4225355" y="1364739"/>
            <a:ext cx="4671973" cy="949107"/>
            <a:chOff x="4911889" y="1669619"/>
            <a:chExt cx="2685309" cy="949107"/>
          </a:xfrm>
        </p:grpSpPr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37DBB8EB-4637-E9A9-5178-7E40AFF35E0D}"/>
                </a:ext>
              </a:extLst>
            </p:cNvPr>
            <p:cNvSpPr txBox="1"/>
            <p:nvPr/>
          </p:nvSpPr>
          <p:spPr>
            <a:xfrm>
              <a:off x="4914433" y="1943317"/>
              <a:ext cx="2682765" cy="675409"/>
            </a:xfrm>
            <a:prstGeom prst="rect">
              <a:avLst/>
            </a:prstGeom>
            <a:noFill/>
          </p:spPr>
          <p:txBody>
            <a:bodyPr wrap="square" lIns="0" tIns="0" rIns="0" bIns="0" anchor="t">
              <a:noAutofit/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Open Sans" panose="020B0606030504020204" pitchFamily="34" charset="0"/>
                  <a:cs typeface="Open Sans" panose="020B0606030504020204" pitchFamily="34" charset="0"/>
                </a:rPr>
                <a:t>Doctorate of Management in Organizational Leadership, and Master of Science in Management of Technology. 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1D5D2D3D-A022-693C-46CE-85DDF3C94DE4}"/>
                </a:ext>
              </a:extLst>
            </p:cNvPr>
            <p:cNvSpPr txBox="1"/>
            <p:nvPr/>
          </p:nvSpPr>
          <p:spPr>
            <a:xfrm>
              <a:off x="4911889" y="1669619"/>
              <a:ext cx="2432191" cy="290793"/>
            </a:xfrm>
            <a:prstGeom prst="rect">
              <a:avLst/>
            </a:prstGeom>
            <a:noFill/>
          </p:spPr>
          <p:txBody>
            <a:bodyPr wrap="square" lIns="0" tIns="0" rIns="0" bIns="0" anchor="t">
              <a:noAutofit/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Open Sans" panose="020B0606030504020204" pitchFamily="34" charset="0"/>
                  <a:cs typeface="Open Sans" panose="020B0606030504020204" pitchFamily="34" charset="0"/>
                </a:rPr>
                <a:t>Education &amp; Credentials</a:t>
              </a:r>
              <a:endParaRPr kumimoji="0" lang="en-IN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DCE9FDF3-D3B8-BD59-693D-94E932A36EEA}"/>
              </a:ext>
            </a:extLst>
          </p:cNvPr>
          <p:cNvCxnSpPr>
            <a:cxnSpLocks/>
          </p:cNvCxnSpPr>
          <p:nvPr/>
        </p:nvCxnSpPr>
        <p:spPr>
          <a:xfrm>
            <a:off x="621792" y="5522621"/>
            <a:ext cx="4970116" cy="0"/>
          </a:xfrm>
          <a:prstGeom prst="line">
            <a:avLst/>
          </a:prstGeom>
          <a:ln>
            <a:solidFill>
              <a:schemeClr val="bg1">
                <a:alpha val="3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Oval 63">
            <a:extLst>
              <a:ext uri="{FF2B5EF4-FFF2-40B4-BE49-F238E27FC236}">
                <a16:creationId xmlns:a16="http://schemas.microsoft.com/office/drawing/2014/main" id="{CA112DCC-2F05-18CC-4226-D29F2C57F149}"/>
              </a:ext>
            </a:extLst>
          </p:cNvPr>
          <p:cNvSpPr/>
          <p:nvPr/>
        </p:nvSpPr>
        <p:spPr>
          <a:xfrm>
            <a:off x="5391868" y="3590552"/>
            <a:ext cx="270496" cy="270496"/>
          </a:xfrm>
          <a:prstGeom prst="ellipse">
            <a:avLst/>
          </a:prstGeom>
          <a:solidFill>
            <a:schemeClr val="accent2"/>
          </a:solidFill>
          <a:ln w="571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16C828EA-C79A-95A6-82AF-50021638F939}"/>
              </a:ext>
            </a:extLst>
          </p:cNvPr>
          <p:cNvGrpSpPr/>
          <p:nvPr/>
        </p:nvGrpSpPr>
        <p:grpSpPr>
          <a:xfrm>
            <a:off x="6173764" y="2258721"/>
            <a:ext cx="3048197" cy="2347010"/>
            <a:chOff x="5174413" y="2078335"/>
            <a:chExt cx="2740606" cy="1679975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0E48784A-9AAB-60A8-50FE-A006F5260C77}"/>
                </a:ext>
              </a:extLst>
            </p:cNvPr>
            <p:cNvSpPr txBox="1"/>
            <p:nvPr/>
          </p:nvSpPr>
          <p:spPr>
            <a:xfrm>
              <a:off x="5193033" y="2284022"/>
              <a:ext cx="2721986" cy="1474288"/>
            </a:xfrm>
            <a:prstGeom prst="rect">
              <a:avLst/>
            </a:prstGeom>
            <a:noFill/>
          </p:spPr>
          <p:txBody>
            <a:bodyPr wrap="square" lIns="0" tIns="0" rIns="0" bIns="0" anchor="t">
              <a:noAutofit/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Proven leadership in aligning enterprise strategy with IT portfolio and EPMO operations across complex, fast-paced, and highly regulated environments. Extensive background in managing $10M–$25M delivery programs, rationalizing large-scale application ecosystems, supply chain integration, advancing cybersecurity maturity, and executing multi-business-unit transformations. </a:t>
              </a:r>
              <a:endPara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95502BE0-BB0F-A452-E171-8B4AD0932CDB}"/>
                </a:ext>
              </a:extLst>
            </p:cNvPr>
            <p:cNvSpPr txBox="1"/>
            <p:nvPr/>
          </p:nvSpPr>
          <p:spPr>
            <a:xfrm>
              <a:off x="5174413" y="2078335"/>
              <a:ext cx="2432191" cy="290793"/>
            </a:xfrm>
            <a:prstGeom prst="rect">
              <a:avLst/>
            </a:prstGeom>
            <a:noFill/>
          </p:spPr>
          <p:txBody>
            <a:bodyPr wrap="square" lIns="0" tIns="0" rIns="0" bIns="0" anchor="t">
              <a:noAutofit/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Open Sans" panose="020B0606030504020204" pitchFamily="34" charset="0"/>
                  <a:cs typeface="Open Sans" panose="020B0606030504020204" pitchFamily="34" charset="0"/>
                </a:rPr>
                <a:t>Experience</a:t>
              </a:r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6D4A284B-B690-8B21-E3BA-04E2CEC81EE6}"/>
              </a:ext>
            </a:extLst>
          </p:cNvPr>
          <p:cNvGrpSpPr/>
          <p:nvPr/>
        </p:nvGrpSpPr>
        <p:grpSpPr>
          <a:xfrm>
            <a:off x="6645960" y="5085184"/>
            <a:ext cx="2358576" cy="1628016"/>
            <a:chOff x="5084070" y="2679425"/>
            <a:chExt cx="2451502" cy="1314385"/>
          </a:xfrm>
        </p:grpSpPr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A8C4A7C8-7C84-B38C-0CBE-6D5F6CE6CE19}"/>
                </a:ext>
              </a:extLst>
            </p:cNvPr>
            <p:cNvSpPr txBox="1"/>
            <p:nvPr/>
          </p:nvSpPr>
          <p:spPr>
            <a:xfrm>
              <a:off x="5103381" y="2927784"/>
              <a:ext cx="2432191" cy="1066026"/>
            </a:xfrm>
            <a:prstGeom prst="rect">
              <a:avLst/>
            </a:prstGeom>
            <a:noFill/>
          </p:spPr>
          <p:txBody>
            <a:bodyPr wrap="square" lIns="0" tIns="0" rIns="0" bIns="0" anchor="t">
              <a:noAutofit/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Contribute expertise to a high-performing organization seeking leadership in enterprise portfolio management and strategy execution.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DCD9DE23-5F9A-3A4C-2066-C7C7232062AE}"/>
                </a:ext>
              </a:extLst>
            </p:cNvPr>
            <p:cNvSpPr txBox="1"/>
            <p:nvPr/>
          </p:nvSpPr>
          <p:spPr>
            <a:xfrm>
              <a:off x="5084070" y="2679425"/>
              <a:ext cx="2432191" cy="290793"/>
            </a:xfrm>
            <a:prstGeom prst="rect">
              <a:avLst/>
            </a:prstGeom>
            <a:noFill/>
          </p:spPr>
          <p:txBody>
            <a:bodyPr wrap="square" lIns="0" tIns="0" rIns="0" bIns="0" anchor="t">
              <a:noAutofit/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Open Sans" panose="020B0606030504020204" pitchFamily="34" charset="0"/>
                  <a:cs typeface="Open Sans" panose="020B0606030504020204" pitchFamily="34" charset="0"/>
                </a:rPr>
                <a:t>Goal</a:t>
              </a:r>
              <a:endParaRPr kumimoji="0" lang="en-IN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71" name="Oval 70">
            <a:extLst>
              <a:ext uri="{FF2B5EF4-FFF2-40B4-BE49-F238E27FC236}">
                <a16:creationId xmlns:a16="http://schemas.microsoft.com/office/drawing/2014/main" id="{FE8F88D0-82D9-B49B-D929-0027DADC7572}"/>
              </a:ext>
            </a:extLst>
          </p:cNvPr>
          <p:cNvSpPr/>
          <p:nvPr/>
        </p:nvSpPr>
        <p:spPr>
          <a:xfrm>
            <a:off x="6111948" y="5102720"/>
            <a:ext cx="270496" cy="270496"/>
          </a:xfrm>
          <a:prstGeom prst="ellipse">
            <a:avLst/>
          </a:prstGeom>
          <a:solidFill>
            <a:schemeClr val="accent2"/>
          </a:solidFill>
          <a:ln w="571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C9597098-9923-BD7C-A256-1DA3D4B3DC1E}"/>
              </a:ext>
            </a:extLst>
          </p:cNvPr>
          <p:cNvCxnSpPr>
            <a:cxnSpLocks/>
          </p:cNvCxnSpPr>
          <p:nvPr/>
        </p:nvCxnSpPr>
        <p:spPr>
          <a:xfrm>
            <a:off x="621792" y="4549162"/>
            <a:ext cx="4372239" cy="0"/>
          </a:xfrm>
          <a:prstGeom prst="line">
            <a:avLst/>
          </a:prstGeom>
          <a:ln>
            <a:solidFill>
              <a:schemeClr val="bg1">
                <a:alpha val="3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6F7ECC75-5DD2-5DDF-2678-2D01B1235336}"/>
              </a:ext>
            </a:extLst>
          </p:cNvPr>
          <p:cNvCxnSpPr>
            <a:cxnSpLocks/>
          </p:cNvCxnSpPr>
          <p:nvPr/>
        </p:nvCxnSpPr>
        <p:spPr>
          <a:xfrm>
            <a:off x="9406780" y="865360"/>
            <a:ext cx="0" cy="5552322"/>
          </a:xfrm>
          <a:prstGeom prst="line">
            <a:avLst/>
          </a:prstGeom>
          <a:ln w="28575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F1F8726E-EA24-9D2E-2108-DE675FACCD80}"/>
              </a:ext>
            </a:extLst>
          </p:cNvPr>
          <p:cNvGrpSpPr/>
          <p:nvPr/>
        </p:nvGrpSpPr>
        <p:grpSpPr>
          <a:xfrm>
            <a:off x="9572714" y="1628800"/>
            <a:ext cx="1781963" cy="707736"/>
            <a:chOff x="5030373" y="1845734"/>
            <a:chExt cx="2432192" cy="707736"/>
          </a:xfrm>
        </p:grpSpPr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129FB473-4F52-A91F-E06E-AD82D40768A6}"/>
                </a:ext>
              </a:extLst>
            </p:cNvPr>
            <p:cNvSpPr txBox="1"/>
            <p:nvPr/>
          </p:nvSpPr>
          <p:spPr>
            <a:xfrm>
              <a:off x="5030373" y="2122488"/>
              <a:ext cx="2432191" cy="430982"/>
            </a:xfrm>
            <a:prstGeom prst="rect">
              <a:avLst/>
            </a:prstGeom>
            <a:noFill/>
          </p:spPr>
          <p:txBody>
            <a:bodyPr wrap="square" lIns="0" tIns="0" rIns="0" bIns="0" anchor="t">
              <a:noAutofit/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Segoe UI"/>
                  <a:ea typeface="Open Sans" panose="020B0606030504020204" pitchFamily="34" charset="0"/>
                  <a:cs typeface="Open Sans" panose="020B0606030504020204" pitchFamily="34" charset="0"/>
                </a:rPr>
                <a:t>IT Portfolio Manager, </a:t>
              </a:r>
              <a:r>
                <a:rPr kumimoji="0" lang="en-IN" sz="1400" b="0" i="1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Segoe UI"/>
                  <a:ea typeface="Open Sans" panose="020B0606030504020204" pitchFamily="34" charset="0"/>
                  <a:cs typeface="Open Sans" panose="020B0606030504020204" pitchFamily="34" charset="0"/>
                </a:rPr>
                <a:t>Xerox Corporation </a:t>
              </a: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C158ACF5-8AD5-E40C-B562-C82F831A9AC5}"/>
                </a:ext>
              </a:extLst>
            </p:cNvPr>
            <p:cNvSpPr txBox="1"/>
            <p:nvPr/>
          </p:nvSpPr>
          <p:spPr>
            <a:xfrm>
              <a:off x="5030374" y="1845734"/>
              <a:ext cx="2432191" cy="235022"/>
            </a:xfrm>
            <a:prstGeom prst="rect">
              <a:avLst/>
            </a:prstGeom>
            <a:noFill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Segoe UI"/>
                  <a:ea typeface="Open Sans" panose="020B0606030504020204" pitchFamily="34" charset="0"/>
                  <a:cs typeface="Open Sans" panose="020B0606030504020204" pitchFamily="34" charset="0"/>
                </a:rPr>
                <a:t>2021-2025</a:t>
              </a:r>
              <a:endParaRPr kumimoji="0" lang="en-IN" sz="14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Segoe UI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995923F2-9C39-E48B-FF90-B6930A771028}"/>
              </a:ext>
            </a:extLst>
          </p:cNvPr>
          <p:cNvGrpSpPr/>
          <p:nvPr/>
        </p:nvGrpSpPr>
        <p:grpSpPr>
          <a:xfrm>
            <a:off x="9562071" y="2348880"/>
            <a:ext cx="2232247" cy="665989"/>
            <a:chOff x="4818153" y="1824734"/>
            <a:chExt cx="3403906" cy="665989"/>
          </a:xfrm>
        </p:grpSpPr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E6193224-2E0B-2559-CA1D-B1D6C305EF6D}"/>
                </a:ext>
              </a:extLst>
            </p:cNvPr>
            <p:cNvSpPr txBox="1"/>
            <p:nvPr/>
          </p:nvSpPr>
          <p:spPr>
            <a:xfrm>
              <a:off x="4818153" y="2122488"/>
              <a:ext cx="3403906" cy="368235"/>
            </a:xfrm>
            <a:prstGeom prst="rect">
              <a:avLst/>
            </a:prstGeom>
            <a:noFill/>
          </p:spPr>
          <p:txBody>
            <a:bodyPr wrap="square" lIns="0" tIns="0" rIns="0" bIns="0" anchor="t">
              <a:noAutofit/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Segoe UI"/>
                  <a:ea typeface="Open Sans" panose="020B0606030504020204" pitchFamily="34" charset="0"/>
                  <a:cs typeface="Open Sans" panose="020B0606030504020204" pitchFamily="34" charset="0"/>
                </a:rPr>
                <a:t>Program Delivery Manager, </a:t>
              </a:r>
              <a:r>
                <a:rPr kumimoji="0" lang="en-IN" sz="1400" b="0" i="1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Segoe UI"/>
                  <a:ea typeface="Open Sans" panose="020B0606030504020204" pitchFamily="34" charset="0"/>
                  <a:cs typeface="Open Sans" panose="020B0606030504020204" pitchFamily="34" charset="0"/>
                </a:rPr>
                <a:t>Pfizer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7B4AD298-9BEA-EA97-0825-476CA2D89979}"/>
                </a:ext>
              </a:extLst>
            </p:cNvPr>
            <p:cNvSpPr txBox="1"/>
            <p:nvPr/>
          </p:nvSpPr>
          <p:spPr>
            <a:xfrm>
              <a:off x="4818155" y="1824734"/>
              <a:ext cx="2432191" cy="235022"/>
            </a:xfrm>
            <a:prstGeom prst="rect">
              <a:avLst/>
            </a:prstGeom>
            <a:noFill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Segoe UI"/>
                  <a:ea typeface="Open Sans" panose="020B0606030504020204" pitchFamily="34" charset="0"/>
                  <a:cs typeface="Open Sans" panose="020B0606030504020204" pitchFamily="34" charset="0"/>
                </a:rPr>
                <a:t>2019-2021</a:t>
              </a:r>
              <a:endParaRPr kumimoji="0" lang="en-IN" sz="14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Segoe UI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29828164-C4F1-C756-62FD-0F11EF1F1026}"/>
              </a:ext>
            </a:extLst>
          </p:cNvPr>
          <p:cNvGrpSpPr/>
          <p:nvPr/>
        </p:nvGrpSpPr>
        <p:grpSpPr>
          <a:xfrm>
            <a:off x="9584146" y="4005064"/>
            <a:ext cx="2353188" cy="707736"/>
            <a:chOff x="5030373" y="1845734"/>
            <a:chExt cx="2921279" cy="707736"/>
          </a:xfrm>
        </p:grpSpPr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1FEC5FA4-B2B1-67B5-E38D-3E87A4583C5A}"/>
                </a:ext>
              </a:extLst>
            </p:cNvPr>
            <p:cNvSpPr txBox="1"/>
            <p:nvPr/>
          </p:nvSpPr>
          <p:spPr>
            <a:xfrm>
              <a:off x="5030373" y="2122488"/>
              <a:ext cx="2921279" cy="430982"/>
            </a:xfrm>
            <a:prstGeom prst="rect">
              <a:avLst/>
            </a:prstGeom>
            <a:noFill/>
          </p:spPr>
          <p:txBody>
            <a:bodyPr wrap="square" lIns="0" tIns="0" rIns="0" bIns="0" anchor="t">
              <a:noAutofit/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Segoe UI"/>
                  <a:ea typeface="Open Sans" panose="020B0606030504020204" pitchFamily="34" charset="0"/>
                  <a:cs typeface="Open Sans" panose="020B0606030504020204" pitchFamily="34" charset="0"/>
                </a:rPr>
                <a:t>Program Execution Manager, </a:t>
              </a:r>
              <a:r>
                <a:rPr kumimoji="0" lang="en-IN" sz="1400" b="0" i="1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Segoe UI"/>
                  <a:ea typeface="Open Sans" panose="020B0606030504020204" pitchFamily="34" charset="0"/>
                  <a:cs typeface="Open Sans" panose="020B0606030504020204" pitchFamily="34" charset="0"/>
                </a:rPr>
                <a:t>Becton Dickinson (BD)</a:t>
              </a: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423E1823-B40D-2BB1-67FC-64AD9C20EF49}"/>
                </a:ext>
              </a:extLst>
            </p:cNvPr>
            <p:cNvSpPr txBox="1"/>
            <p:nvPr/>
          </p:nvSpPr>
          <p:spPr>
            <a:xfrm>
              <a:off x="5030373" y="1845734"/>
              <a:ext cx="2432191" cy="235022"/>
            </a:xfrm>
            <a:prstGeom prst="rect">
              <a:avLst/>
            </a:prstGeom>
            <a:noFill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Segoe UI"/>
                  <a:ea typeface="Open Sans" panose="020B0606030504020204" pitchFamily="34" charset="0"/>
                  <a:cs typeface="Open Sans" panose="020B0606030504020204" pitchFamily="34" charset="0"/>
                </a:rPr>
                <a:t>2016-2017</a:t>
              </a:r>
              <a:endParaRPr kumimoji="0" lang="en-IN" sz="14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Segoe UI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2F7BC457-C7D8-64EC-3F6C-96795235ADF2}"/>
              </a:ext>
            </a:extLst>
          </p:cNvPr>
          <p:cNvGrpSpPr/>
          <p:nvPr/>
        </p:nvGrpSpPr>
        <p:grpSpPr>
          <a:xfrm>
            <a:off x="9586808" y="5673592"/>
            <a:ext cx="1973999" cy="707736"/>
            <a:chOff x="5030373" y="1845734"/>
            <a:chExt cx="2694300" cy="707736"/>
          </a:xfrm>
        </p:grpSpPr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1BC0BE3B-028F-A8F8-DDDD-58B1C337B91B}"/>
                </a:ext>
              </a:extLst>
            </p:cNvPr>
            <p:cNvSpPr txBox="1"/>
            <p:nvPr/>
          </p:nvSpPr>
          <p:spPr>
            <a:xfrm>
              <a:off x="5030373" y="2122488"/>
              <a:ext cx="2694300" cy="430982"/>
            </a:xfrm>
            <a:prstGeom prst="rect">
              <a:avLst/>
            </a:prstGeom>
            <a:noFill/>
          </p:spPr>
          <p:txBody>
            <a:bodyPr wrap="square" lIns="0" tIns="0" rIns="0" bIns="0" anchor="t">
              <a:noAutofit/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Segoe UI"/>
                  <a:ea typeface="Open Sans" panose="020B0606030504020204" pitchFamily="34" charset="0"/>
                  <a:cs typeface="Open Sans" panose="020B0606030504020204" pitchFamily="34" charset="0"/>
                </a:rPr>
                <a:t>Sr. Project Manager, </a:t>
              </a:r>
              <a:r>
                <a:rPr kumimoji="0" lang="en-IN" sz="1400" b="0" i="1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Segoe UI"/>
                  <a:ea typeface="Open Sans" panose="020B0606030504020204" pitchFamily="34" charset="0"/>
                  <a:cs typeface="Open Sans" panose="020B0606030504020204" pitchFamily="34" charset="0"/>
                </a:rPr>
                <a:t>JPMorgan Chase</a:t>
              </a:r>
              <a:endParaRPr kumimoji="0" lang="en-IN" sz="1200" b="0" i="1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Segoe UI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02D38BA5-AA59-CB2D-E8A9-2BDD672FA655}"/>
                </a:ext>
              </a:extLst>
            </p:cNvPr>
            <p:cNvSpPr txBox="1"/>
            <p:nvPr/>
          </p:nvSpPr>
          <p:spPr>
            <a:xfrm>
              <a:off x="5030373" y="1845734"/>
              <a:ext cx="2432191" cy="235022"/>
            </a:xfrm>
            <a:prstGeom prst="rect">
              <a:avLst/>
            </a:prstGeom>
            <a:noFill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Segoe UI"/>
                  <a:ea typeface="Open Sans" panose="020B0606030504020204" pitchFamily="34" charset="0"/>
                  <a:cs typeface="Open Sans" panose="020B0606030504020204" pitchFamily="34" charset="0"/>
                </a:rPr>
                <a:t>2010-2013</a:t>
              </a:r>
              <a:endParaRPr kumimoji="0" lang="en-IN" sz="14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Segoe UI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17" name="Oval 16">
            <a:extLst>
              <a:ext uri="{FF2B5EF4-FFF2-40B4-BE49-F238E27FC236}">
                <a16:creationId xmlns:a16="http://schemas.microsoft.com/office/drawing/2014/main" id="{7BE4EB3C-3DDE-DFCB-4924-0EF3F5A1852D}"/>
              </a:ext>
            </a:extLst>
          </p:cNvPr>
          <p:cNvSpPr/>
          <p:nvPr/>
        </p:nvSpPr>
        <p:spPr>
          <a:xfrm>
            <a:off x="621792" y="590468"/>
            <a:ext cx="2237399" cy="2237399"/>
          </a:xfrm>
          <a:prstGeom prst="ellipse">
            <a:avLst/>
          </a:prstGeom>
          <a:noFill/>
          <a:ln w="76200">
            <a:gradFill flip="none" rotWithShape="1">
              <a:gsLst>
                <a:gs pos="0">
                  <a:schemeClr val="accent3">
                    <a:lumMod val="60000"/>
                    <a:lumOff val="40000"/>
                  </a:schemeClr>
                </a:gs>
                <a:gs pos="100000">
                  <a:schemeClr val="accent2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8" name="Oval 117">
            <a:extLst>
              <a:ext uri="{FF2B5EF4-FFF2-40B4-BE49-F238E27FC236}">
                <a16:creationId xmlns:a16="http://schemas.microsoft.com/office/drawing/2014/main" id="{079764D2-F6D6-CEF4-73FE-274A509EE108}"/>
              </a:ext>
            </a:extLst>
          </p:cNvPr>
          <p:cNvSpPr/>
          <p:nvPr/>
        </p:nvSpPr>
        <p:spPr>
          <a:xfrm>
            <a:off x="-254643" y="292411"/>
            <a:ext cx="509286" cy="50928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0AE4F68-2252-3562-851C-8B982F9210D9}"/>
              </a:ext>
            </a:extLst>
          </p:cNvPr>
          <p:cNvSpPr txBox="1"/>
          <p:nvPr/>
        </p:nvSpPr>
        <p:spPr>
          <a:xfrm>
            <a:off x="3048640" y="111611"/>
            <a:ext cx="5227092" cy="52322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ROFESSIONAL SUMMARY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9CBB28B-FDE4-70A1-35D2-C47F321AE2A1}"/>
              </a:ext>
            </a:extLst>
          </p:cNvPr>
          <p:cNvSpPr/>
          <p:nvPr/>
        </p:nvSpPr>
        <p:spPr>
          <a:xfrm>
            <a:off x="3661464" y="5826750"/>
            <a:ext cx="2576963" cy="338554"/>
          </a:xfrm>
          <a:prstGeom prst="rect">
            <a:avLst/>
          </a:prstGeom>
        </p:spPr>
        <p:txBody>
          <a:bodyPr wrap="square" lIns="0" rIns="0" anchor="t">
            <a:sp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Open Sans Light" panose="020B0306030504020204" pitchFamily="34" charset="0"/>
                <a:cs typeface="Open Sans Light" panose="020B0306030504020204" pitchFamily="34" charset="0"/>
              </a:rPr>
              <a:t>kenrick.fraser@outlook.com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A09DD96-3B46-3B9F-FD89-8326F1579A16}"/>
              </a:ext>
            </a:extLst>
          </p:cNvPr>
          <p:cNvSpPr txBox="1"/>
          <p:nvPr/>
        </p:nvSpPr>
        <p:spPr>
          <a:xfrm>
            <a:off x="9365452" y="476672"/>
            <a:ext cx="2191547" cy="29506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xperience Highlights</a:t>
            </a:r>
          </a:p>
        </p:txBody>
      </p:sp>
      <p:pic>
        <p:nvPicPr>
          <p:cNvPr id="10" name="Picture Placeholder 9" descr="A person in a suit and tie&#10;&#10;AI-generated content may be incorrect.">
            <a:extLst>
              <a:ext uri="{FF2B5EF4-FFF2-40B4-BE49-F238E27FC236}">
                <a16:creationId xmlns:a16="http://schemas.microsoft.com/office/drawing/2014/main" id="{BF76ADF8-6945-8BFA-6D93-1835DE92E7F8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31825" y="608013"/>
            <a:ext cx="2236788" cy="2236787"/>
          </a:xfr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F2D79CC8-18ED-4DF9-FDE6-68DCEC2DBB86}"/>
              </a:ext>
            </a:extLst>
          </p:cNvPr>
          <p:cNvGrpSpPr/>
          <p:nvPr/>
        </p:nvGrpSpPr>
        <p:grpSpPr>
          <a:xfrm>
            <a:off x="9573144" y="836712"/>
            <a:ext cx="2232248" cy="833835"/>
            <a:chOff x="5030373" y="1893910"/>
            <a:chExt cx="3683370" cy="659560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3CBDE504-C246-5C64-6FEE-1AF3118D6ECC}"/>
                </a:ext>
              </a:extLst>
            </p:cNvPr>
            <p:cNvSpPr txBox="1"/>
            <p:nvPr/>
          </p:nvSpPr>
          <p:spPr>
            <a:xfrm>
              <a:off x="5030373" y="2122488"/>
              <a:ext cx="3683370" cy="430982"/>
            </a:xfrm>
            <a:prstGeom prst="rect">
              <a:avLst/>
            </a:prstGeom>
            <a:noFill/>
          </p:spPr>
          <p:txBody>
            <a:bodyPr wrap="square" lIns="0" tIns="0" rIns="0" bIns="0" anchor="t">
              <a:noAutofit/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Segoe UI"/>
                  <a:ea typeface="Open Sans" panose="020B0606030504020204" pitchFamily="34" charset="0"/>
                  <a:cs typeface="Open Sans" panose="020B0606030504020204" pitchFamily="34" charset="0"/>
                </a:rPr>
                <a:t>Principal Consultant, </a:t>
              </a:r>
              <a:r>
                <a:rPr kumimoji="0" lang="en-IN" sz="1400" b="0" i="1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Segoe UI"/>
                  <a:ea typeface="Open Sans" panose="020B0606030504020204" pitchFamily="34" charset="0"/>
                  <a:cs typeface="Open Sans" panose="020B0606030504020204" pitchFamily="34" charset="0"/>
                </a:rPr>
                <a:t>Management Solutions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4CD0538D-C14D-19E3-FA70-D7B9F2F970F6}"/>
                </a:ext>
              </a:extLst>
            </p:cNvPr>
            <p:cNvSpPr txBox="1"/>
            <p:nvPr/>
          </p:nvSpPr>
          <p:spPr>
            <a:xfrm>
              <a:off x="5030373" y="1893910"/>
              <a:ext cx="2432191" cy="235022"/>
            </a:xfrm>
            <a:prstGeom prst="rect">
              <a:avLst/>
            </a:prstGeom>
            <a:noFill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Segoe UI"/>
                  <a:ea typeface="Open Sans" panose="020B0606030504020204" pitchFamily="34" charset="0"/>
                  <a:cs typeface="Open Sans" panose="020B0606030504020204" pitchFamily="34" charset="0"/>
                </a:rPr>
                <a:t>2002-Present</a:t>
              </a:r>
              <a:endParaRPr kumimoji="0" lang="en-IN" sz="14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Segoe UI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21636A33-0D09-DA4C-337D-547F362ECEC1}"/>
              </a:ext>
            </a:extLst>
          </p:cNvPr>
          <p:cNvSpPr/>
          <p:nvPr/>
        </p:nvSpPr>
        <p:spPr>
          <a:xfrm>
            <a:off x="561187" y="4102610"/>
            <a:ext cx="3746299" cy="338554"/>
          </a:xfrm>
          <a:prstGeom prst="rect">
            <a:avLst/>
          </a:prstGeom>
        </p:spPr>
        <p:txBody>
          <a:bodyPr wrap="square" lIns="0" rIns="0" anchor="ctr">
            <a:sp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Open Sans Light" panose="020B0306030504020204" pitchFamily="34" charset="0"/>
                <a:cs typeface="Open Sans Light" panose="020B0306030504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edIn</a:t>
            </a:r>
            <a:endParaRPr kumimoji="0" lang="en-IN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7A3FEC6-E327-49C1-4736-B4E887308886}"/>
              </a:ext>
            </a:extLst>
          </p:cNvPr>
          <p:cNvSpPr txBox="1"/>
          <p:nvPr/>
        </p:nvSpPr>
        <p:spPr>
          <a:xfrm>
            <a:off x="10552386" y="8061434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284FDDF-C5CA-86D5-9EF2-57483B2346E2}"/>
              </a:ext>
            </a:extLst>
          </p:cNvPr>
          <p:cNvGrpSpPr/>
          <p:nvPr/>
        </p:nvGrpSpPr>
        <p:grpSpPr>
          <a:xfrm>
            <a:off x="9576739" y="4809496"/>
            <a:ext cx="1973999" cy="707736"/>
            <a:chOff x="5030373" y="1845734"/>
            <a:chExt cx="2694300" cy="707736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B60F6356-EF3B-45A2-20F5-F1B2B4F11156}"/>
                </a:ext>
              </a:extLst>
            </p:cNvPr>
            <p:cNvSpPr txBox="1"/>
            <p:nvPr/>
          </p:nvSpPr>
          <p:spPr>
            <a:xfrm>
              <a:off x="5030373" y="2122488"/>
              <a:ext cx="2694300" cy="430982"/>
            </a:xfrm>
            <a:prstGeom prst="rect">
              <a:avLst/>
            </a:prstGeom>
            <a:noFill/>
          </p:spPr>
          <p:txBody>
            <a:bodyPr wrap="square" lIns="0" tIns="0" rIns="0" bIns="0" anchor="t">
              <a:noAutofit/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Segoe UI"/>
                  <a:ea typeface="Open Sans" panose="020B0606030504020204" pitchFamily="34" charset="0"/>
                  <a:cs typeface="Open Sans" panose="020B0606030504020204" pitchFamily="34" charset="0"/>
                </a:rPr>
                <a:t>IT Portfolio Manager, </a:t>
              </a:r>
              <a:r>
                <a:rPr kumimoji="0" lang="en-IN" sz="1400" b="0" i="1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Segoe UI"/>
                  <a:ea typeface="Open Sans" panose="020B0606030504020204" pitchFamily="34" charset="0"/>
                  <a:cs typeface="Open Sans" panose="020B0606030504020204" pitchFamily="34" charset="0"/>
                </a:rPr>
                <a:t>TJX Companies</a:t>
              </a:r>
              <a:endParaRPr kumimoji="0" lang="en-IN" sz="1200" b="0" i="1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Segoe UI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6A983B58-72E5-8DC7-AE04-008FEFB310FC}"/>
                </a:ext>
              </a:extLst>
            </p:cNvPr>
            <p:cNvSpPr txBox="1"/>
            <p:nvPr/>
          </p:nvSpPr>
          <p:spPr>
            <a:xfrm>
              <a:off x="5030373" y="1845734"/>
              <a:ext cx="2432191" cy="235022"/>
            </a:xfrm>
            <a:prstGeom prst="rect">
              <a:avLst/>
            </a:prstGeom>
            <a:noFill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Segoe UI"/>
                  <a:ea typeface="Open Sans" panose="020B0606030504020204" pitchFamily="34" charset="0"/>
                  <a:cs typeface="Open Sans" panose="020B0606030504020204" pitchFamily="34" charset="0"/>
                </a:rPr>
                <a:t>2013-2016</a:t>
              </a:r>
              <a:endParaRPr kumimoji="0" lang="en-IN" sz="14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Segoe UI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5FA01C2D-C934-F4EA-339B-588EB5BD6912}"/>
              </a:ext>
            </a:extLst>
          </p:cNvPr>
          <p:cNvGrpSpPr/>
          <p:nvPr/>
        </p:nvGrpSpPr>
        <p:grpSpPr>
          <a:xfrm>
            <a:off x="9550796" y="3204320"/>
            <a:ext cx="2080930" cy="728736"/>
            <a:chOff x="4818155" y="1824734"/>
            <a:chExt cx="3173166" cy="728736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35510F02-083B-4622-2B62-17F6300D779F}"/>
                </a:ext>
              </a:extLst>
            </p:cNvPr>
            <p:cNvSpPr txBox="1"/>
            <p:nvPr/>
          </p:nvSpPr>
          <p:spPr>
            <a:xfrm>
              <a:off x="4818155" y="2122488"/>
              <a:ext cx="3173166" cy="430982"/>
            </a:xfrm>
            <a:prstGeom prst="rect">
              <a:avLst/>
            </a:prstGeom>
            <a:noFill/>
          </p:spPr>
          <p:txBody>
            <a:bodyPr wrap="square" lIns="0" tIns="0" rIns="0" bIns="0" anchor="t">
              <a:noAutofit/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Segoe UI"/>
                  <a:ea typeface="Open Sans" panose="020B0606030504020204" pitchFamily="34" charset="0"/>
                  <a:cs typeface="Open Sans" panose="020B0606030504020204" pitchFamily="34" charset="0"/>
                </a:rPr>
                <a:t>Program Manager, (M&amp;A) </a:t>
              </a:r>
              <a:r>
                <a:rPr kumimoji="0" lang="en-IN" sz="1400" b="0" i="1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Segoe UI"/>
                  <a:ea typeface="Open Sans" panose="020B0606030504020204" pitchFamily="34" charset="0"/>
                  <a:cs typeface="Open Sans" panose="020B0606030504020204" pitchFamily="34" charset="0"/>
                </a:rPr>
                <a:t>IQVIA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E5DE6BE8-8C60-6A42-E12E-09DE0EA0CE10}"/>
                </a:ext>
              </a:extLst>
            </p:cNvPr>
            <p:cNvSpPr txBox="1"/>
            <p:nvPr/>
          </p:nvSpPr>
          <p:spPr>
            <a:xfrm>
              <a:off x="4818155" y="1824734"/>
              <a:ext cx="2432191" cy="235022"/>
            </a:xfrm>
            <a:prstGeom prst="rect">
              <a:avLst/>
            </a:prstGeom>
            <a:noFill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Segoe UI"/>
                  <a:ea typeface="Open Sans" panose="020B0606030504020204" pitchFamily="34" charset="0"/>
                  <a:cs typeface="Open Sans" panose="020B0606030504020204" pitchFamily="34" charset="0"/>
                </a:rPr>
                <a:t>2018-2019</a:t>
              </a:r>
              <a:endParaRPr kumimoji="0" lang="en-IN" sz="14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Segoe UI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287796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9E6FC2F1-897F-41AB-B7AA-240805963D1F}"/>
              </a:ext>
            </a:extLst>
          </p:cNvPr>
          <p:cNvGrpSpPr/>
          <p:nvPr/>
        </p:nvGrpSpPr>
        <p:grpSpPr>
          <a:xfrm>
            <a:off x="-1999777" y="1073621"/>
            <a:ext cx="9974844" cy="4944208"/>
            <a:chOff x="61216" y="2024069"/>
            <a:chExt cx="7497509" cy="3716270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7F16EA61-E657-4C1D-89D2-BEFE010C937F}"/>
                </a:ext>
              </a:extLst>
            </p:cNvPr>
            <p:cNvGrpSpPr/>
            <p:nvPr/>
          </p:nvGrpSpPr>
          <p:grpSpPr>
            <a:xfrm>
              <a:off x="61216" y="2024069"/>
              <a:ext cx="7497509" cy="3716270"/>
              <a:chOff x="61216" y="2024069"/>
              <a:chExt cx="7497509" cy="3716270"/>
            </a:xfrm>
          </p:grpSpPr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7BF43790-767D-4689-B1FE-FB86E2EC9FBA}"/>
                  </a:ext>
                </a:extLst>
              </p:cNvPr>
              <p:cNvGrpSpPr/>
              <p:nvPr/>
            </p:nvGrpSpPr>
            <p:grpSpPr>
              <a:xfrm>
                <a:off x="61216" y="2024069"/>
                <a:ext cx="6507102" cy="3716270"/>
                <a:chOff x="61216" y="2024069"/>
                <a:chExt cx="6507102" cy="3716270"/>
              </a:xfrm>
            </p:grpSpPr>
            <p:cxnSp>
              <p:nvCxnSpPr>
                <p:cNvPr id="13" name="Straight Connector 12">
                  <a:extLst>
                    <a:ext uri="{FF2B5EF4-FFF2-40B4-BE49-F238E27FC236}">
                      <a16:creationId xmlns:a16="http://schemas.microsoft.com/office/drawing/2014/main" id="{847F5431-E2F9-42B7-BFDC-5FBF1738C383}"/>
                    </a:ext>
                  </a:extLst>
                </p:cNvPr>
                <p:cNvCxnSpPr>
                  <a:cxnSpLocks/>
                  <a:endCxn id="28" idx="0"/>
                </p:cNvCxnSpPr>
                <p:nvPr/>
              </p:nvCxnSpPr>
              <p:spPr>
                <a:xfrm flipH="1">
                  <a:off x="6167507" y="2024069"/>
                  <a:ext cx="400811" cy="3716270"/>
                </a:xfrm>
                <a:prstGeom prst="line">
                  <a:avLst/>
                </a:prstGeom>
                <a:ln w="3175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685013BD-2BC1-4659-BC60-D5ED7897A580}"/>
                    </a:ext>
                  </a:extLst>
                </p:cNvPr>
                <p:cNvCxnSpPr>
                  <a:cxnSpLocks/>
                  <a:endCxn id="25" idx="1"/>
                </p:cNvCxnSpPr>
                <p:nvPr/>
              </p:nvCxnSpPr>
              <p:spPr>
                <a:xfrm>
                  <a:off x="61216" y="4336191"/>
                  <a:ext cx="1650922" cy="224163"/>
                </a:xfrm>
                <a:prstGeom prst="line">
                  <a:avLst/>
                </a:prstGeom>
                <a:ln w="3175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" name="Group 6">
                <a:extLst>
                  <a:ext uri="{FF2B5EF4-FFF2-40B4-BE49-F238E27FC236}">
                    <a16:creationId xmlns:a16="http://schemas.microsoft.com/office/drawing/2014/main" id="{834B0DC6-DA36-457D-8A8D-19BB779C66B0}"/>
                  </a:ext>
                </a:extLst>
              </p:cNvPr>
              <p:cNvGrpSpPr/>
              <p:nvPr/>
            </p:nvGrpSpPr>
            <p:grpSpPr>
              <a:xfrm rot="3591312">
                <a:off x="4750789" y="2347511"/>
                <a:ext cx="2884279" cy="2731592"/>
                <a:chOff x="4684314" y="2404540"/>
                <a:chExt cx="2884279" cy="2731592"/>
              </a:xfrm>
            </p:grpSpPr>
            <p:cxnSp>
              <p:nvCxnSpPr>
                <p:cNvPr id="11" name="Straight Connector 10">
                  <a:extLst>
                    <a:ext uri="{FF2B5EF4-FFF2-40B4-BE49-F238E27FC236}">
                      <a16:creationId xmlns:a16="http://schemas.microsoft.com/office/drawing/2014/main" id="{6787CCF2-3A84-4D1F-B1D1-C587B35BAEE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8008688" flipH="1">
                  <a:off x="4834242" y="2970518"/>
                  <a:ext cx="2731592" cy="1599635"/>
                </a:xfrm>
                <a:prstGeom prst="line">
                  <a:avLst/>
                </a:prstGeom>
                <a:ln w="3175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" name="Straight Connector 11">
                  <a:extLst>
                    <a:ext uri="{FF2B5EF4-FFF2-40B4-BE49-F238E27FC236}">
                      <a16:creationId xmlns:a16="http://schemas.microsoft.com/office/drawing/2014/main" id="{F81965DC-A9D2-4699-9445-118FC78E2DA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8008688">
                  <a:off x="5291612" y="2372540"/>
                  <a:ext cx="1669684" cy="2884279"/>
                </a:xfrm>
                <a:prstGeom prst="line">
                  <a:avLst/>
                </a:prstGeom>
                <a:ln w="3175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2835169E-CFEA-475B-BEE9-4D7406929010}"/>
                  </a:ext>
                </a:extLst>
              </p:cNvPr>
              <p:cNvGrpSpPr/>
              <p:nvPr/>
            </p:nvGrpSpPr>
            <p:grpSpPr>
              <a:xfrm rot="1783715">
                <a:off x="4820463" y="2317152"/>
                <a:ext cx="2702833" cy="2969823"/>
                <a:chOff x="4830267" y="2346234"/>
                <a:chExt cx="2702833" cy="2969823"/>
              </a:xfrm>
            </p:grpSpPr>
            <p:cxnSp>
              <p:nvCxnSpPr>
                <p:cNvPr id="9" name="Straight Connector 8">
                  <a:extLst>
                    <a:ext uri="{FF2B5EF4-FFF2-40B4-BE49-F238E27FC236}">
                      <a16:creationId xmlns:a16="http://schemas.microsoft.com/office/drawing/2014/main" id="{598F9EE8-0A9A-4F77-AF27-B829373EBB6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816285" flipH="1">
                  <a:off x="5329839" y="2346234"/>
                  <a:ext cx="1708136" cy="2969823"/>
                </a:xfrm>
                <a:prstGeom prst="line">
                  <a:avLst/>
                </a:prstGeom>
                <a:ln w="3175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" name="Straight Connector 9">
                  <a:extLst>
                    <a:ext uri="{FF2B5EF4-FFF2-40B4-BE49-F238E27FC236}">
                      <a16:creationId xmlns:a16="http://schemas.microsoft.com/office/drawing/2014/main" id="{F4F8CB2D-97D2-414B-8C87-4A8F0624EFA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816285">
                  <a:off x="4830267" y="3033699"/>
                  <a:ext cx="2702833" cy="1536381"/>
                </a:xfrm>
                <a:prstGeom prst="line">
                  <a:avLst/>
                </a:prstGeom>
                <a:ln w="3175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B7BBA088-1AB9-4432-8605-2BC83BC850A9}"/>
                </a:ext>
              </a:extLst>
            </p:cNvPr>
            <p:cNvSpPr/>
            <p:nvPr/>
          </p:nvSpPr>
          <p:spPr>
            <a:xfrm>
              <a:off x="5412699" y="3033664"/>
              <a:ext cx="1554172" cy="1554172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849DD21-1F8D-4C4F-A7FF-8593A787D0FC}"/>
              </a:ext>
            </a:extLst>
          </p:cNvPr>
          <p:cNvGrpSpPr/>
          <p:nvPr/>
        </p:nvGrpSpPr>
        <p:grpSpPr>
          <a:xfrm>
            <a:off x="3648639" y="810628"/>
            <a:ext cx="4804822" cy="5062900"/>
            <a:chOff x="3684742" y="1174412"/>
            <a:chExt cx="4804822" cy="5062900"/>
          </a:xfrm>
          <a:gradFill flip="none" rotWithShape="1">
            <a:gsLst>
              <a:gs pos="18000">
                <a:schemeClr val="accent5">
                  <a:lumMod val="100000"/>
                </a:schemeClr>
              </a:gs>
              <a:gs pos="90000">
                <a:schemeClr val="accent2"/>
              </a:gs>
            </a:gsLst>
            <a:lin ang="2700000" scaled="1"/>
            <a:tileRect/>
          </a:gradFill>
        </p:grpSpPr>
        <p:sp>
          <p:nvSpPr>
            <p:cNvPr id="16" name="Freeform 21">
              <a:extLst>
                <a:ext uri="{FF2B5EF4-FFF2-40B4-BE49-F238E27FC236}">
                  <a16:creationId xmlns:a16="http://schemas.microsoft.com/office/drawing/2014/main" id="{E651D846-363E-4CDC-861D-002367900985}"/>
                </a:ext>
              </a:extLst>
            </p:cNvPr>
            <p:cNvSpPr>
              <a:spLocks/>
            </p:cNvSpPr>
            <p:nvPr/>
          </p:nvSpPr>
          <p:spPr bwMode="auto">
            <a:xfrm rot="8198681">
              <a:off x="4078188" y="1541338"/>
              <a:ext cx="4362450" cy="4296952"/>
            </a:xfrm>
            <a:custGeom>
              <a:avLst/>
              <a:gdLst>
                <a:gd name="T0" fmla="*/ 373 w 2195"/>
                <a:gd name="T1" fmla="*/ 444 h 2161"/>
                <a:gd name="T2" fmla="*/ 249 w 2195"/>
                <a:gd name="T3" fmla="*/ 669 h 2161"/>
                <a:gd name="T4" fmla="*/ 201 w 2195"/>
                <a:gd name="T5" fmla="*/ 832 h 2161"/>
                <a:gd name="T6" fmla="*/ 171 w 2195"/>
                <a:gd name="T7" fmla="*/ 1028 h 2161"/>
                <a:gd name="T8" fmla="*/ 205 w 2195"/>
                <a:gd name="T9" fmla="*/ 1269 h 2161"/>
                <a:gd name="T10" fmla="*/ 927 w 2195"/>
                <a:gd name="T11" fmla="*/ 1911 h 2161"/>
                <a:gd name="T12" fmla="*/ 1519 w 2195"/>
                <a:gd name="T13" fmla="*/ 1907 h 2161"/>
                <a:gd name="T14" fmla="*/ 1968 w 2195"/>
                <a:gd name="T15" fmla="*/ 1611 h 2161"/>
                <a:gd name="T16" fmla="*/ 2022 w 2195"/>
                <a:gd name="T17" fmla="*/ 663 h 2161"/>
                <a:gd name="T18" fmla="*/ 1302 w 2195"/>
                <a:gd name="T19" fmla="*/ 73 h 2161"/>
                <a:gd name="T20" fmla="*/ 335 w 2195"/>
                <a:gd name="T21" fmla="*/ 330 h 2161"/>
                <a:gd name="T22" fmla="*/ 91 w 2195"/>
                <a:gd name="T23" fmla="*/ 1291 h 2161"/>
                <a:gd name="T24" fmla="*/ 677 w 2195"/>
                <a:gd name="T25" fmla="*/ 2000 h 2161"/>
                <a:gd name="T26" fmla="*/ 1462 w 2195"/>
                <a:gd name="T27" fmla="*/ 2120 h 2161"/>
                <a:gd name="T28" fmla="*/ 2100 w 2195"/>
                <a:gd name="T29" fmla="*/ 1737 h 2161"/>
                <a:gd name="T30" fmla="*/ 2192 w 2195"/>
                <a:gd name="T31" fmla="*/ 1561 h 2161"/>
                <a:gd name="T32" fmla="*/ 2147 w 2195"/>
                <a:gd name="T33" fmla="*/ 1550 h 2161"/>
                <a:gd name="T34" fmla="*/ 2102 w 2195"/>
                <a:gd name="T35" fmla="*/ 1561 h 2161"/>
                <a:gd name="T36" fmla="*/ 1585 w 2195"/>
                <a:gd name="T37" fmla="*/ 2059 h 2161"/>
                <a:gd name="T38" fmla="*/ 1417 w 2195"/>
                <a:gd name="T39" fmla="*/ 2101 h 2161"/>
                <a:gd name="T40" fmla="*/ 1247 w 2195"/>
                <a:gd name="T41" fmla="*/ 2113 h 2161"/>
                <a:gd name="T42" fmla="*/ 1238 w 2195"/>
                <a:gd name="T43" fmla="*/ 2113 h 2161"/>
                <a:gd name="T44" fmla="*/ 1231 w 2195"/>
                <a:gd name="T45" fmla="*/ 2113 h 2161"/>
                <a:gd name="T46" fmla="*/ 1210 w 2195"/>
                <a:gd name="T47" fmla="*/ 2112 h 2161"/>
                <a:gd name="T48" fmla="*/ 1162 w 2195"/>
                <a:gd name="T49" fmla="*/ 2109 h 2161"/>
                <a:gd name="T50" fmla="*/ 1075 w 2195"/>
                <a:gd name="T51" fmla="*/ 2097 h 2161"/>
                <a:gd name="T52" fmla="*/ 903 w 2195"/>
                <a:gd name="T53" fmla="*/ 2052 h 2161"/>
                <a:gd name="T54" fmla="*/ 268 w 2195"/>
                <a:gd name="T55" fmla="*/ 1511 h 2161"/>
                <a:gd name="T56" fmla="*/ 145 w 2195"/>
                <a:gd name="T57" fmla="*/ 1029 h 2161"/>
                <a:gd name="T58" fmla="*/ 264 w 2195"/>
                <a:gd name="T59" fmla="*/ 552 h 2161"/>
                <a:gd name="T60" fmla="*/ 594 w 2195"/>
                <a:gd name="T61" fmla="*/ 198 h 2161"/>
                <a:gd name="T62" fmla="*/ 1045 w 2195"/>
                <a:gd name="T63" fmla="*/ 69 h 2161"/>
                <a:gd name="T64" fmla="*/ 1832 w 2195"/>
                <a:gd name="T65" fmla="*/ 489 h 2161"/>
                <a:gd name="T66" fmla="*/ 1992 w 2195"/>
                <a:gd name="T67" fmla="*/ 1355 h 2161"/>
                <a:gd name="T68" fmla="*/ 1702 w 2195"/>
                <a:gd name="T69" fmla="*/ 1783 h 2161"/>
                <a:gd name="T70" fmla="*/ 1199 w 2195"/>
                <a:gd name="T71" fmla="*/ 1924 h 2161"/>
                <a:gd name="T72" fmla="*/ 377 w 2195"/>
                <a:gd name="T73" fmla="*/ 1446 h 2161"/>
                <a:gd name="T74" fmla="*/ 262 w 2195"/>
                <a:gd name="T75" fmla="*/ 998 h 2161"/>
                <a:gd name="T76" fmla="*/ 293 w 2195"/>
                <a:gd name="T77" fmla="*/ 821 h 2161"/>
                <a:gd name="T78" fmla="*/ 341 w 2195"/>
                <a:gd name="T79" fmla="*/ 665 h 2161"/>
                <a:gd name="T80" fmla="*/ 460 w 2195"/>
                <a:gd name="T81" fmla="*/ 449 h 2161"/>
                <a:gd name="T82" fmla="*/ 428 w 2195"/>
                <a:gd name="T83" fmla="*/ 436 h 2161"/>
                <a:gd name="T84" fmla="*/ 373 w 2195"/>
                <a:gd name="T85" fmla="*/ 444 h 2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195" h="2161">
                  <a:moveTo>
                    <a:pt x="373" y="444"/>
                  </a:moveTo>
                  <a:cubicBezTo>
                    <a:pt x="326" y="515"/>
                    <a:pt x="281" y="590"/>
                    <a:pt x="249" y="669"/>
                  </a:cubicBezTo>
                  <a:cubicBezTo>
                    <a:pt x="227" y="722"/>
                    <a:pt x="212" y="776"/>
                    <a:pt x="201" y="832"/>
                  </a:cubicBezTo>
                  <a:cubicBezTo>
                    <a:pt x="188" y="897"/>
                    <a:pt x="173" y="961"/>
                    <a:pt x="171" y="1028"/>
                  </a:cubicBezTo>
                  <a:cubicBezTo>
                    <a:pt x="168" y="1110"/>
                    <a:pt x="180" y="1191"/>
                    <a:pt x="205" y="1269"/>
                  </a:cubicBezTo>
                  <a:cubicBezTo>
                    <a:pt x="309" y="1590"/>
                    <a:pt x="606" y="1830"/>
                    <a:pt x="927" y="1911"/>
                  </a:cubicBezTo>
                  <a:cubicBezTo>
                    <a:pt x="1119" y="1959"/>
                    <a:pt x="1328" y="1959"/>
                    <a:pt x="1519" y="1907"/>
                  </a:cubicBezTo>
                  <a:cubicBezTo>
                    <a:pt x="1697" y="1860"/>
                    <a:pt x="1864" y="1766"/>
                    <a:pt x="1968" y="1611"/>
                  </a:cubicBezTo>
                  <a:cubicBezTo>
                    <a:pt x="2155" y="1335"/>
                    <a:pt x="2157" y="960"/>
                    <a:pt x="2022" y="663"/>
                  </a:cubicBezTo>
                  <a:cubicBezTo>
                    <a:pt x="1887" y="367"/>
                    <a:pt x="1621" y="142"/>
                    <a:pt x="1302" y="73"/>
                  </a:cubicBezTo>
                  <a:cubicBezTo>
                    <a:pt x="963" y="0"/>
                    <a:pt x="582" y="77"/>
                    <a:pt x="335" y="330"/>
                  </a:cubicBezTo>
                  <a:cubicBezTo>
                    <a:pt x="90" y="581"/>
                    <a:pt x="0" y="954"/>
                    <a:pt x="91" y="1291"/>
                  </a:cubicBezTo>
                  <a:cubicBezTo>
                    <a:pt x="175" y="1599"/>
                    <a:pt x="392" y="1858"/>
                    <a:pt x="677" y="2000"/>
                  </a:cubicBezTo>
                  <a:cubicBezTo>
                    <a:pt x="916" y="2120"/>
                    <a:pt x="1198" y="2161"/>
                    <a:pt x="1462" y="2120"/>
                  </a:cubicBezTo>
                  <a:cubicBezTo>
                    <a:pt x="1716" y="2080"/>
                    <a:pt x="1954" y="1954"/>
                    <a:pt x="2100" y="1737"/>
                  </a:cubicBezTo>
                  <a:cubicBezTo>
                    <a:pt x="2137" y="1682"/>
                    <a:pt x="2167" y="1623"/>
                    <a:pt x="2192" y="1561"/>
                  </a:cubicBezTo>
                  <a:cubicBezTo>
                    <a:pt x="2195" y="1552"/>
                    <a:pt x="2151" y="1550"/>
                    <a:pt x="2147" y="1550"/>
                  </a:cubicBezTo>
                  <a:cubicBezTo>
                    <a:pt x="2137" y="1550"/>
                    <a:pt x="2107" y="1549"/>
                    <a:pt x="2102" y="1561"/>
                  </a:cubicBezTo>
                  <a:cubicBezTo>
                    <a:pt x="2009" y="1795"/>
                    <a:pt x="1823" y="1975"/>
                    <a:pt x="1585" y="2059"/>
                  </a:cubicBezTo>
                  <a:cubicBezTo>
                    <a:pt x="1531" y="2078"/>
                    <a:pt x="1474" y="2093"/>
                    <a:pt x="1417" y="2101"/>
                  </a:cubicBezTo>
                  <a:cubicBezTo>
                    <a:pt x="1356" y="2111"/>
                    <a:pt x="1306" y="2114"/>
                    <a:pt x="1247" y="2113"/>
                  </a:cubicBezTo>
                  <a:cubicBezTo>
                    <a:pt x="1244" y="2113"/>
                    <a:pt x="1241" y="2113"/>
                    <a:pt x="1238" y="2113"/>
                  </a:cubicBezTo>
                  <a:cubicBezTo>
                    <a:pt x="1238" y="2113"/>
                    <a:pt x="1222" y="2113"/>
                    <a:pt x="1231" y="2113"/>
                  </a:cubicBezTo>
                  <a:cubicBezTo>
                    <a:pt x="1224" y="2113"/>
                    <a:pt x="1217" y="2113"/>
                    <a:pt x="1210" y="2112"/>
                  </a:cubicBezTo>
                  <a:cubicBezTo>
                    <a:pt x="1194" y="2111"/>
                    <a:pt x="1178" y="2110"/>
                    <a:pt x="1162" y="2109"/>
                  </a:cubicBezTo>
                  <a:cubicBezTo>
                    <a:pt x="1139" y="2106"/>
                    <a:pt x="1103" y="2101"/>
                    <a:pt x="1075" y="2097"/>
                  </a:cubicBezTo>
                  <a:cubicBezTo>
                    <a:pt x="1017" y="2086"/>
                    <a:pt x="959" y="2071"/>
                    <a:pt x="903" y="2052"/>
                  </a:cubicBezTo>
                  <a:cubicBezTo>
                    <a:pt x="631" y="1959"/>
                    <a:pt x="401" y="1767"/>
                    <a:pt x="268" y="1511"/>
                  </a:cubicBezTo>
                  <a:cubicBezTo>
                    <a:pt x="190" y="1363"/>
                    <a:pt x="146" y="1197"/>
                    <a:pt x="145" y="1029"/>
                  </a:cubicBezTo>
                  <a:cubicBezTo>
                    <a:pt x="144" y="864"/>
                    <a:pt x="186" y="698"/>
                    <a:pt x="264" y="552"/>
                  </a:cubicBezTo>
                  <a:cubicBezTo>
                    <a:pt x="340" y="408"/>
                    <a:pt x="454" y="283"/>
                    <a:pt x="594" y="198"/>
                  </a:cubicBezTo>
                  <a:cubicBezTo>
                    <a:pt x="729" y="116"/>
                    <a:pt x="887" y="70"/>
                    <a:pt x="1045" y="69"/>
                  </a:cubicBezTo>
                  <a:cubicBezTo>
                    <a:pt x="1359" y="66"/>
                    <a:pt x="1652" y="235"/>
                    <a:pt x="1832" y="489"/>
                  </a:cubicBezTo>
                  <a:cubicBezTo>
                    <a:pt x="2008" y="738"/>
                    <a:pt x="2072" y="1060"/>
                    <a:pt x="1992" y="1355"/>
                  </a:cubicBezTo>
                  <a:cubicBezTo>
                    <a:pt x="1946" y="1528"/>
                    <a:pt x="1853" y="1683"/>
                    <a:pt x="1702" y="1783"/>
                  </a:cubicBezTo>
                  <a:cubicBezTo>
                    <a:pt x="1556" y="1881"/>
                    <a:pt x="1374" y="1927"/>
                    <a:pt x="1199" y="1924"/>
                  </a:cubicBezTo>
                  <a:cubicBezTo>
                    <a:pt x="869" y="1919"/>
                    <a:pt x="549" y="1726"/>
                    <a:pt x="377" y="1446"/>
                  </a:cubicBezTo>
                  <a:cubicBezTo>
                    <a:pt x="295" y="1312"/>
                    <a:pt x="250" y="1155"/>
                    <a:pt x="262" y="998"/>
                  </a:cubicBezTo>
                  <a:cubicBezTo>
                    <a:pt x="267" y="938"/>
                    <a:pt x="281" y="879"/>
                    <a:pt x="293" y="821"/>
                  </a:cubicBezTo>
                  <a:cubicBezTo>
                    <a:pt x="305" y="767"/>
                    <a:pt x="320" y="715"/>
                    <a:pt x="341" y="665"/>
                  </a:cubicBezTo>
                  <a:cubicBezTo>
                    <a:pt x="372" y="589"/>
                    <a:pt x="414" y="518"/>
                    <a:pt x="460" y="449"/>
                  </a:cubicBezTo>
                  <a:cubicBezTo>
                    <a:pt x="467" y="438"/>
                    <a:pt x="433" y="436"/>
                    <a:pt x="428" y="436"/>
                  </a:cubicBezTo>
                  <a:cubicBezTo>
                    <a:pt x="418" y="435"/>
                    <a:pt x="381" y="432"/>
                    <a:pt x="373" y="4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ffectLst>
              <a:outerShdw dist="76200" dir="9780000" algn="t" rotWithShape="0">
                <a:prstClr val="black">
                  <a:alpha val="15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DA2CBD74-4F06-49B3-81B9-7B15D5426FE5}"/>
                </a:ext>
              </a:extLst>
            </p:cNvPr>
            <p:cNvGrpSpPr/>
            <p:nvPr/>
          </p:nvGrpSpPr>
          <p:grpSpPr>
            <a:xfrm>
              <a:off x="3684742" y="1174412"/>
              <a:ext cx="4804822" cy="5062900"/>
              <a:chOff x="3857002" y="1384302"/>
              <a:chExt cx="4804822" cy="5062900"/>
            </a:xfrm>
            <a:grpFill/>
          </p:grpSpPr>
          <p:sp>
            <p:nvSpPr>
              <p:cNvPr id="18" name="Freeform 21">
                <a:extLst>
                  <a:ext uri="{FF2B5EF4-FFF2-40B4-BE49-F238E27FC236}">
                    <a16:creationId xmlns:a16="http://schemas.microsoft.com/office/drawing/2014/main" id="{9081338D-79AC-4E9F-AE54-941B720467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3946" y="1872164"/>
                <a:ext cx="4362450" cy="4296952"/>
              </a:xfrm>
              <a:custGeom>
                <a:avLst/>
                <a:gdLst>
                  <a:gd name="T0" fmla="*/ 373 w 2195"/>
                  <a:gd name="T1" fmla="*/ 444 h 2161"/>
                  <a:gd name="T2" fmla="*/ 249 w 2195"/>
                  <a:gd name="T3" fmla="*/ 669 h 2161"/>
                  <a:gd name="T4" fmla="*/ 201 w 2195"/>
                  <a:gd name="T5" fmla="*/ 832 h 2161"/>
                  <a:gd name="T6" fmla="*/ 171 w 2195"/>
                  <a:gd name="T7" fmla="*/ 1028 h 2161"/>
                  <a:gd name="T8" fmla="*/ 205 w 2195"/>
                  <a:gd name="T9" fmla="*/ 1269 h 2161"/>
                  <a:gd name="T10" fmla="*/ 927 w 2195"/>
                  <a:gd name="T11" fmla="*/ 1911 h 2161"/>
                  <a:gd name="T12" fmla="*/ 1519 w 2195"/>
                  <a:gd name="T13" fmla="*/ 1907 h 2161"/>
                  <a:gd name="T14" fmla="*/ 1968 w 2195"/>
                  <a:gd name="T15" fmla="*/ 1611 h 2161"/>
                  <a:gd name="T16" fmla="*/ 2022 w 2195"/>
                  <a:gd name="T17" fmla="*/ 663 h 2161"/>
                  <a:gd name="T18" fmla="*/ 1302 w 2195"/>
                  <a:gd name="T19" fmla="*/ 73 h 2161"/>
                  <a:gd name="T20" fmla="*/ 335 w 2195"/>
                  <a:gd name="T21" fmla="*/ 330 h 2161"/>
                  <a:gd name="T22" fmla="*/ 91 w 2195"/>
                  <a:gd name="T23" fmla="*/ 1291 h 2161"/>
                  <a:gd name="T24" fmla="*/ 677 w 2195"/>
                  <a:gd name="T25" fmla="*/ 2000 h 2161"/>
                  <a:gd name="T26" fmla="*/ 1462 w 2195"/>
                  <a:gd name="T27" fmla="*/ 2120 h 2161"/>
                  <a:gd name="T28" fmla="*/ 2100 w 2195"/>
                  <a:gd name="T29" fmla="*/ 1737 h 2161"/>
                  <a:gd name="T30" fmla="*/ 2192 w 2195"/>
                  <a:gd name="T31" fmla="*/ 1561 h 2161"/>
                  <a:gd name="T32" fmla="*/ 2147 w 2195"/>
                  <a:gd name="T33" fmla="*/ 1550 h 2161"/>
                  <a:gd name="T34" fmla="*/ 2102 w 2195"/>
                  <a:gd name="T35" fmla="*/ 1561 h 2161"/>
                  <a:gd name="T36" fmla="*/ 1585 w 2195"/>
                  <a:gd name="T37" fmla="*/ 2059 h 2161"/>
                  <a:gd name="T38" fmla="*/ 1417 w 2195"/>
                  <a:gd name="T39" fmla="*/ 2101 h 2161"/>
                  <a:gd name="T40" fmla="*/ 1247 w 2195"/>
                  <a:gd name="T41" fmla="*/ 2113 h 2161"/>
                  <a:gd name="T42" fmla="*/ 1238 w 2195"/>
                  <a:gd name="T43" fmla="*/ 2113 h 2161"/>
                  <a:gd name="T44" fmla="*/ 1231 w 2195"/>
                  <a:gd name="T45" fmla="*/ 2113 h 2161"/>
                  <a:gd name="T46" fmla="*/ 1210 w 2195"/>
                  <a:gd name="T47" fmla="*/ 2112 h 2161"/>
                  <a:gd name="T48" fmla="*/ 1162 w 2195"/>
                  <a:gd name="T49" fmla="*/ 2109 h 2161"/>
                  <a:gd name="T50" fmla="*/ 1075 w 2195"/>
                  <a:gd name="T51" fmla="*/ 2097 h 2161"/>
                  <a:gd name="T52" fmla="*/ 903 w 2195"/>
                  <a:gd name="T53" fmla="*/ 2052 h 2161"/>
                  <a:gd name="T54" fmla="*/ 268 w 2195"/>
                  <a:gd name="T55" fmla="*/ 1511 h 2161"/>
                  <a:gd name="T56" fmla="*/ 145 w 2195"/>
                  <a:gd name="T57" fmla="*/ 1029 h 2161"/>
                  <a:gd name="T58" fmla="*/ 264 w 2195"/>
                  <a:gd name="T59" fmla="*/ 552 h 2161"/>
                  <a:gd name="T60" fmla="*/ 594 w 2195"/>
                  <a:gd name="T61" fmla="*/ 198 h 2161"/>
                  <a:gd name="T62" fmla="*/ 1045 w 2195"/>
                  <a:gd name="T63" fmla="*/ 69 h 2161"/>
                  <a:gd name="T64" fmla="*/ 1832 w 2195"/>
                  <a:gd name="T65" fmla="*/ 489 h 2161"/>
                  <a:gd name="T66" fmla="*/ 1992 w 2195"/>
                  <a:gd name="T67" fmla="*/ 1355 h 2161"/>
                  <a:gd name="T68" fmla="*/ 1702 w 2195"/>
                  <a:gd name="T69" fmla="*/ 1783 h 2161"/>
                  <a:gd name="T70" fmla="*/ 1199 w 2195"/>
                  <a:gd name="T71" fmla="*/ 1924 h 2161"/>
                  <a:gd name="T72" fmla="*/ 377 w 2195"/>
                  <a:gd name="T73" fmla="*/ 1446 h 2161"/>
                  <a:gd name="T74" fmla="*/ 262 w 2195"/>
                  <a:gd name="T75" fmla="*/ 998 h 2161"/>
                  <a:gd name="T76" fmla="*/ 293 w 2195"/>
                  <a:gd name="T77" fmla="*/ 821 h 2161"/>
                  <a:gd name="T78" fmla="*/ 341 w 2195"/>
                  <a:gd name="T79" fmla="*/ 665 h 2161"/>
                  <a:gd name="T80" fmla="*/ 460 w 2195"/>
                  <a:gd name="T81" fmla="*/ 449 h 2161"/>
                  <a:gd name="T82" fmla="*/ 428 w 2195"/>
                  <a:gd name="T83" fmla="*/ 436 h 2161"/>
                  <a:gd name="T84" fmla="*/ 373 w 2195"/>
                  <a:gd name="T85" fmla="*/ 444 h 2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195" h="2161">
                    <a:moveTo>
                      <a:pt x="373" y="444"/>
                    </a:moveTo>
                    <a:cubicBezTo>
                      <a:pt x="326" y="515"/>
                      <a:pt x="281" y="590"/>
                      <a:pt x="249" y="669"/>
                    </a:cubicBezTo>
                    <a:cubicBezTo>
                      <a:pt x="227" y="722"/>
                      <a:pt x="212" y="776"/>
                      <a:pt x="201" y="832"/>
                    </a:cubicBezTo>
                    <a:cubicBezTo>
                      <a:pt x="188" y="897"/>
                      <a:pt x="173" y="961"/>
                      <a:pt x="171" y="1028"/>
                    </a:cubicBezTo>
                    <a:cubicBezTo>
                      <a:pt x="168" y="1110"/>
                      <a:pt x="180" y="1191"/>
                      <a:pt x="205" y="1269"/>
                    </a:cubicBezTo>
                    <a:cubicBezTo>
                      <a:pt x="309" y="1590"/>
                      <a:pt x="606" y="1830"/>
                      <a:pt x="927" y="1911"/>
                    </a:cubicBezTo>
                    <a:cubicBezTo>
                      <a:pt x="1119" y="1959"/>
                      <a:pt x="1328" y="1959"/>
                      <a:pt x="1519" y="1907"/>
                    </a:cubicBezTo>
                    <a:cubicBezTo>
                      <a:pt x="1697" y="1860"/>
                      <a:pt x="1864" y="1766"/>
                      <a:pt x="1968" y="1611"/>
                    </a:cubicBezTo>
                    <a:cubicBezTo>
                      <a:pt x="2155" y="1335"/>
                      <a:pt x="2157" y="960"/>
                      <a:pt x="2022" y="663"/>
                    </a:cubicBezTo>
                    <a:cubicBezTo>
                      <a:pt x="1887" y="367"/>
                      <a:pt x="1621" y="142"/>
                      <a:pt x="1302" y="73"/>
                    </a:cubicBezTo>
                    <a:cubicBezTo>
                      <a:pt x="963" y="0"/>
                      <a:pt x="582" y="77"/>
                      <a:pt x="335" y="330"/>
                    </a:cubicBezTo>
                    <a:cubicBezTo>
                      <a:pt x="90" y="581"/>
                      <a:pt x="0" y="954"/>
                      <a:pt x="91" y="1291"/>
                    </a:cubicBezTo>
                    <a:cubicBezTo>
                      <a:pt x="175" y="1599"/>
                      <a:pt x="392" y="1858"/>
                      <a:pt x="677" y="2000"/>
                    </a:cubicBezTo>
                    <a:cubicBezTo>
                      <a:pt x="916" y="2120"/>
                      <a:pt x="1198" y="2161"/>
                      <a:pt x="1462" y="2120"/>
                    </a:cubicBezTo>
                    <a:cubicBezTo>
                      <a:pt x="1716" y="2080"/>
                      <a:pt x="1954" y="1954"/>
                      <a:pt x="2100" y="1737"/>
                    </a:cubicBezTo>
                    <a:cubicBezTo>
                      <a:pt x="2137" y="1682"/>
                      <a:pt x="2167" y="1623"/>
                      <a:pt x="2192" y="1561"/>
                    </a:cubicBezTo>
                    <a:cubicBezTo>
                      <a:pt x="2195" y="1552"/>
                      <a:pt x="2151" y="1550"/>
                      <a:pt x="2147" y="1550"/>
                    </a:cubicBezTo>
                    <a:cubicBezTo>
                      <a:pt x="2137" y="1550"/>
                      <a:pt x="2107" y="1549"/>
                      <a:pt x="2102" y="1561"/>
                    </a:cubicBezTo>
                    <a:cubicBezTo>
                      <a:pt x="2009" y="1795"/>
                      <a:pt x="1823" y="1975"/>
                      <a:pt x="1585" y="2059"/>
                    </a:cubicBezTo>
                    <a:cubicBezTo>
                      <a:pt x="1531" y="2078"/>
                      <a:pt x="1474" y="2093"/>
                      <a:pt x="1417" y="2101"/>
                    </a:cubicBezTo>
                    <a:cubicBezTo>
                      <a:pt x="1356" y="2111"/>
                      <a:pt x="1306" y="2114"/>
                      <a:pt x="1247" y="2113"/>
                    </a:cubicBezTo>
                    <a:cubicBezTo>
                      <a:pt x="1244" y="2113"/>
                      <a:pt x="1241" y="2113"/>
                      <a:pt x="1238" y="2113"/>
                    </a:cubicBezTo>
                    <a:cubicBezTo>
                      <a:pt x="1238" y="2113"/>
                      <a:pt x="1222" y="2113"/>
                      <a:pt x="1231" y="2113"/>
                    </a:cubicBezTo>
                    <a:cubicBezTo>
                      <a:pt x="1224" y="2113"/>
                      <a:pt x="1217" y="2113"/>
                      <a:pt x="1210" y="2112"/>
                    </a:cubicBezTo>
                    <a:cubicBezTo>
                      <a:pt x="1194" y="2111"/>
                      <a:pt x="1178" y="2110"/>
                      <a:pt x="1162" y="2109"/>
                    </a:cubicBezTo>
                    <a:cubicBezTo>
                      <a:pt x="1139" y="2106"/>
                      <a:pt x="1103" y="2101"/>
                      <a:pt x="1075" y="2097"/>
                    </a:cubicBezTo>
                    <a:cubicBezTo>
                      <a:pt x="1017" y="2086"/>
                      <a:pt x="959" y="2071"/>
                      <a:pt x="903" y="2052"/>
                    </a:cubicBezTo>
                    <a:cubicBezTo>
                      <a:pt x="631" y="1959"/>
                      <a:pt x="401" y="1767"/>
                      <a:pt x="268" y="1511"/>
                    </a:cubicBezTo>
                    <a:cubicBezTo>
                      <a:pt x="190" y="1363"/>
                      <a:pt x="146" y="1197"/>
                      <a:pt x="145" y="1029"/>
                    </a:cubicBezTo>
                    <a:cubicBezTo>
                      <a:pt x="144" y="864"/>
                      <a:pt x="186" y="698"/>
                      <a:pt x="264" y="552"/>
                    </a:cubicBezTo>
                    <a:cubicBezTo>
                      <a:pt x="340" y="408"/>
                      <a:pt x="454" y="283"/>
                      <a:pt x="594" y="198"/>
                    </a:cubicBezTo>
                    <a:cubicBezTo>
                      <a:pt x="729" y="116"/>
                      <a:pt x="887" y="70"/>
                      <a:pt x="1045" y="69"/>
                    </a:cubicBezTo>
                    <a:cubicBezTo>
                      <a:pt x="1359" y="66"/>
                      <a:pt x="1652" y="235"/>
                      <a:pt x="1832" y="489"/>
                    </a:cubicBezTo>
                    <a:cubicBezTo>
                      <a:pt x="2008" y="738"/>
                      <a:pt x="2072" y="1060"/>
                      <a:pt x="1992" y="1355"/>
                    </a:cubicBezTo>
                    <a:cubicBezTo>
                      <a:pt x="1946" y="1528"/>
                      <a:pt x="1853" y="1683"/>
                      <a:pt x="1702" y="1783"/>
                    </a:cubicBezTo>
                    <a:cubicBezTo>
                      <a:pt x="1556" y="1881"/>
                      <a:pt x="1374" y="1927"/>
                      <a:pt x="1199" y="1924"/>
                    </a:cubicBezTo>
                    <a:cubicBezTo>
                      <a:pt x="869" y="1919"/>
                      <a:pt x="549" y="1726"/>
                      <a:pt x="377" y="1446"/>
                    </a:cubicBezTo>
                    <a:cubicBezTo>
                      <a:pt x="295" y="1312"/>
                      <a:pt x="250" y="1155"/>
                      <a:pt x="262" y="998"/>
                    </a:cubicBezTo>
                    <a:cubicBezTo>
                      <a:pt x="267" y="938"/>
                      <a:pt x="281" y="879"/>
                      <a:pt x="293" y="821"/>
                    </a:cubicBezTo>
                    <a:cubicBezTo>
                      <a:pt x="305" y="767"/>
                      <a:pt x="320" y="715"/>
                      <a:pt x="341" y="665"/>
                    </a:cubicBezTo>
                    <a:cubicBezTo>
                      <a:pt x="372" y="589"/>
                      <a:pt x="414" y="518"/>
                      <a:pt x="460" y="449"/>
                    </a:cubicBezTo>
                    <a:cubicBezTo>
                      <a:pt x="467" y="438"/>
                      <a:pt x="433" y="436"/>
                      <a:pt x="428" y="436"/>
                    </a:cubicBezTo>
                    <a:cubicBezTo>
                      <a:pt x="418" y="435"/>
                      <a:pt x="381" y="432"/>
                      <a:pt x="373" y="44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ffectLst>
                <a:outerShdw dist="76200" dir="978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9" name="Freeform 37">
                <a:extLst>
                  <a:ext uri="{FF2B5EF4-FFF2-40B4-BE49-F238E27FC236}">
                    <a16:creationId xmlns:a16="http://schemas.microsoft.com/office/drawing/2014/main" id="{1DB4C984-EC17-404D-8BCD-360920F3B0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78188" y="1872164"/>
                <a:ext cx="4105275" cy="4236453"/>
              </a:xfrm>
              <a:custGeom>
                <a:avLst/>
                <a:gdLst>
                  <a:gd name="T0" fmla="*/ 1650 w 1997"/>
                  <a:gd name="T1" fmla="*/ 1925 h 2060"/>
                  <a:gd name="T2" fmla="*/ 1935 w 1997"/>
                  <a:gd name="T3" fmla="*/ 1531 h 2060"/>
                  <a:gd name="T4" fmla="*/ 1985 w 1997"/>
                  <a:gd name="T5" fmla="*/ 1036 h 2060"/>
                  <a:gd name="T6" fmla="*/ 1816 w 1997"/>
                  <a:gd name="T7" fmla="*/ 520 h 2060"/>
                  <a:gd name="T8" fmla="*/ 1397 w 1997"/>
                  <a:gd name="T9" fmla="*/ 141 h 2060"/>
                  <a:gd name="T10" fmla="*/ 755 w 1997"/>
                  <a:gd name="T11" fmla="*/ 63 h 2060"/>
                  <a:gd name="T12" fmla="*/ 333 w 1997"/>
                  <a:gd name="T13" fmla="*/ 414 h 2060"/>
                  <a:gd name="T14" fmla="*/ 234 w 1997"/>
                  <a:gd name="T15" fmla="*/ 683 h 2060"/>
                  <a:gd name="T16" fmla="*/ 195 w 1997"/>
                  <a:gd name="T17" fmla="*/ 958 h 2060"/>
                  <a:gd name="T18" fmla="*/ 318 w 1997"/>
                  <a:gd name="T19" fmla="*/ 1485 h 2060"/>
                  <a:gd name="T20" fmla="*/ 722 w 1997"/>
                  <a:gd name="T21" fmla="*/ 1874 h 2060"/>
                  <a:gd name="T22" fmla="*/ 1269 w 1997"/>
                  <a:gd name="T23" fmla="*/ 1969 h 2060"/>
                  <a:gd name="T24" fmla="*/ 1545 w 1997"/>
                  <a:gd name="T25" fmla="*/ 1895 h 2060"/>
                  <a:gd name="T26" fmla="*/ 1747 w 1997"/>
                  <a:gd name="T27" fmla="*/ 1739 h 2060"/>
                  <a:gd name="T28" fmla="*/ 1842 w 1997"/>
                  <a:gd name="T29" fmla="*/ 1511 h 2060"/>
                  <a:gd name="T30" fmla="*/ 1868 w 1997"/>
                  <a:gd name="T31" fmla="*/ 1222 h 2060"/>
                  <a:gd name="T32" fmla="*/ 1705 w 1997"/>
                  <a:gd name="T33" fmla="*/ 658 h 2060"/>
                  <a:gd name="T34" fmla="*/ 1285 w 1997"/>
                  <a:gd name="T35" fmla="*/ 286 h 2060"/>
                  <a:gd name="T36" fmla="*/ 711 w 1997"/>
                  <a:gd name="T37" fmla="*/ 213 h 2060"/>
                  <a:gd name="T38" fmla="*/ 251 w 1997"/>
                  <a:gd name="T39" fmla="*/ 473 h 2060"/>
                  <a:gd name="T40" fmla="*/ 22 w 1997"/>
                  <a:gd name="T41" fmla="*/ 957 h 2060"/>
                  <a:gd name="T42" fmla="*/ 128 w 1997"/>
                  <a:gd name="T43" fmla="*/ 1507 h 2060"/>
                  <a:gd name="T44" fmla="*/ 1060 w 1997"/>
                  <a:gd name="T45" fmla="*/ 2056 h 2060"/>
                  <a:gd name="T46" fmla="*/ 1330 w 1997"/>
                  <a:gd name="T47" fmla="*/ 2030 h 2060"/>
                  <a:gd name="T48" fmla="*/ 1346 w 1997"/>
                  <a:gd name="T49" fmla="*/ 2002 h 2060"/>
                  <a:gd name="T50" fmla="*/ 1285 w 1997"/>
                  <a:gd name="T51" fmla="*/ 1995 h 2060"/>
                  <a:gd name="T52" fmla="*/ 793 w 1997"/>
                  <a:gd name="T53" fmla="*/ 1965 h 2060"/>
                  <a:gd name="T54" fmla="*/ 358 w 1997"/>
                  <a:gd name="T55" fmla="*/ 1698 h 2060"/>
                  <a:gd name="T56" fmla="*/ 190 w 1997"/>
                  <a:gd name="T57" fmla="*/ 697 h 2060"/>
                  <a:gd name="T58" fmla="*/ 529 w 1997"/>
                  <a:gd name="T59" fmla="*/ 333 h 2060"/>
                  <a:gd name="T60" fmla="*/ 1010 w 1997"/>
                  <a:gd name="T61" fmla="*/ 248 h 2060"/>
                  <a:gd name="T62" fmla="*/ 1470 w 1997"/>
                  <a:gd name="T63" fmla="*/ 485 h 2060"/>
                  <a:gd name="T64" fmla="*/ 1742 w 1997"/>
                  <a:gd name="T65" fmla="*/ 962 h 2060"/>
                  <a:gd name="T66" fmla="*/ 1750 w 1997"/>
                  <a:gd name="T67" fmla="*/ 1517 h 2060"/>
                  <a:gd name="T68" fmla="*/ 1657 w 1997"/>
                  <a:gd name="T69" fmla="*/ 1732 h 2060"/>
                  <a:gd name="T70" fmla="*/ 1468 w 1997"/>
                  <a:gd name="T71" fmla="*/ 1873 h 2060"/>
                  <a:gd name="T72" fmla="*/ 538 w 1997"/>
                  <a:gd name="T73" fmla="*/ 1659 h 2060"/>
                  <a:gd name="T74" fmla="*/ 303 w 1997"/>
                  <a:gd name="T75" fmla="*/ 1189 h 2060"/>
                  <a:gd name="T76" fmla="*/ 328 w 1997"/>
                  <a:gd name="T77" fmla="*/ 665 h 2060"/>
                  <a:gd name="T78" fmla="*/ 593 w 1997"/>
                  <a:gd name="T79" fmla="*/ 212 h 2060"/>
                  <a:gd name="T80" fmla="*/ 827 w 1997"/>
                  <a:gd name="T81" fmla="*/ 90 h 2060"/>
                  <a:gd name="T82" fmla="*/ 1107 w 1997"/>
                  <a:gd name="T83" fmla="*/ 88 h 2060"/>
                  <a:gd name="T84" fmla="*/ 1856 w 1997"/>
                  <a:gd name="T85" fmla="*/ 813 h 2060"/>
                  <a:gd name="T86" fmla="*/ 1890 w 1997"/>
                  <a:gd name="T87" fmla="*/ 1306 h 2060"/>
                  <a:gd name="T88" fmla="*/ 1738 w 1997"/>
                  <a:gd name="T89" fmla="*/ 1751 h 2060"/>
                  <a:gd name="T90" fmla="*/ 1572 w 1997"/>
                  <a:gd name="T91" fmla="*/ 1905 h 2060"/>
                  <a:gd name="T92" fmla="*/ 1589 w 1997"/>
                  <a:gd name="T93" fmla="*/ 1932 h 2060"/>
                  <a:gd name="T94" fmla="*/ 1650 w 1997"/>
                  <a:gd name="T95" fmla="*/ 1925 h 20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997" h="2060">
                    <a:moveTo>
                      <a:pt x="1650" y="1925"/>
                    </a:moveTo>
                    <a:cubicBezTo>
                      <a:pt x="1796" y="1838"/>
                      <a:pt x="1887" y="1690"/>
                      <a:pt x="1935" y="1531"/>
                    </a:cubicBezTo>
                    <a:cubicBezTo>
                      <a:pt x="1983" y="1372"/>
                      <a:pt x="1997" y="1201"/>
                      <a:pt x="1985" y="1036"/>
                    </a:cubicBezTo>
                    <a:cubicBezTo>
                      <a:pt x="1971" y="854"/>
                      <a:pt x="1914" y="674"/>
                      <a:pt x="1816" y="520"/>
                    </a:cubicBezTo>
                    <a:cubicBezTo>
                      <a:pt x="1714" y="359"/>
                      <a:pt x="1567" y="228"/>
                      <a:pt x="1397" y="141"/>
                    </a:cubicBezTo>
                    <a:cubicBezTo>
                      <a:pt x="1203" y="41"/>
                      <a:pt x="967" y="0"/>
                      <a:pt x="755" y="63"/>
                    </a:cubicBezTo>
                    <a:cubicBezTo>
                      <a:pt x="573" y="117"/>
                      <a:pt x="424" y="249"/>
                      <a:pt x="333" y="414"/>
                    </a:cubicBezTo>
                    <a:cubicBezTo>
                      <a:pt x="288" y="498"/>
                      <a:pt x="257" y="590"/>
                      <a:pt x="234" y="683"/>
                    </a:cubicBezTo>
                    <a:cubicBezTo>
                      <a:pt x="211" y="773"/>
                      <a:pt x="198" y="865"/>
                      <a:pt x="195" y="958"/>
                    </a:cubicBezTo>
                    <a:cubicBezTo>
                      <a:pt x="190" y="1141"/>
                      <a:pt x="229" y="1325"/>
                      <a:pt x="318" y="1485"/>
                    </a:cubicBezTo>
                    <a:cubicBezTo>
                      <a:pt x="409" y="1652"/>
                      <a:pt x="551" y="1789"/>
                      <a:pt x="722" y="1874"/>
                    </a:cubicBezTo>
                    <a:cubicBezTo>
                      <a:pt x="890" y="1958"/>
                      <a:pt x="1083" y="1990"/>
                      <a:pt x="1269" y="1969"/>
                    </a:cubicBezTo>
                    <a:cubicBezTo>
                      <a:pt x="1364" y="1959"/>
                      <a:pt x="1458" y="1934"/>
                      <a:pt x="1545" y="1895"/>
                    </a:cubicBezTo>
                    <a:cubicBezTo>
                      <a:pt x="1625" y="1860"/>
                      <a:pt x="1696" y="1810"/>
                      <a:pt x="1747" y="1739"/>
                    </a:cubicBezTo>
                    <a:cubicBezTo>
                      <a:pt x="1796" y="1672"/>
                      <a:pt x="1824" y="1592"/>
                      <a:pt x="1842" y="1511"/>
                    </a:cubicBezTo>
                    <a:cubicBezTo>
                      <a:pt x="1863" y="1417"/>
                      <a:pt x="1871" y="1319"/>
                      <a:pt x="1868" y="1222"/>
                    </a:cubicBezTo>
                    <a:cubicBezTo>
                      <a:pt x="1862" y="1025"/>
                      <a:pt x="1809" y="826"/>
                      <a:pt x="1705" y="658"/>
                    </a:cubicBezTo>
                    <a:cubicBezTo>
                      <a:pt x="1605" y="496"/>
                      <a:pt x="1458" y="366"/>
                      <a:pt x="1285" y="286"/>
                    </a:cubicBezTo>
                    <a:cubicBezTo>
                      <a:pt x="1107" y="204"/>
                      <a:pt x="904" y="176"/>
                      <a:pt x="711" y="213"/>
                    </a:cubicBezTo>
                    <a:cubicBezTo>
                      <a:pt x="535" y="248"/>
                      <a:pt x="373" y="342"/>
                      <a:pt x="251" y="473"/>
                    </a:cubicBezTo>
                    <a:cubicBezTo>
                      <a:pt x="126" y="606"/>
                      <a:pt x="44" y="776"/>
                      <a:pt x="22" y="957"/>
                    </a:cubicBezTo>
                    <a:cubicBezTo>
                      <a:pt x="0" y="1145"/>
                      <a:pt x="40" y="1340"/>
                      <a:pt x="128" y="1507"/>
                    </a:cubicBezTo>
                    <a:cubicBezTo>
                      <a:pt x="306" y="1844"/>
                      <a:pt x="687" y="2040"/>
                      <a:pt x="1060" y="2056"/>
                    </a:cubicBezTo>
                    <a:cubicBezTo>
                      <a:pt x="1151" y="2060"/>
                      <a:pt x="1242" y="2052"/>
                      <a:pt x="1330" y="2030"/>
                    </a:cubicBezTo>
                    <a:cubicBezTo>
                      <a:pt x="1343" y="2026"/>
                      <a:pt x="1361" y="2015"/>
                      <a:pt x="1346" y="2002"/>
                    </a:cubicBezTo>
                    <a:cubicBezTo>
                      <a:pt x="1332" y="1989"/>
                      <a:pt x="1302" y="1990"/>
                      <a:pt x="1285" y="1995"/>
                    </a:cubicBezTo>
                    <a:cubicBezTo>
                      <a:pt x="1123" y="2036"/>
                      <a:pt x="952" y="2016"/>
                      <a:pt x="793" y="1965"/>
                    </a:cubicBezTo>
                    <a:cubicBezTo>
                      <a:pt x="631" y="1913"/>
                      <a:pt x="476" y="1822"/>
                      <a:pt x="358" y="1698"/>
                    </a:cubicBezTo>
                    <a:cubicBezTo>
                      <a:pt x="110" y="1436"/>
                      <a:pt x="29" y="1024"/>
                      <a:pt x="190" y="697"/>
                    </a:cubicBezTo>
                    <a:cubicBezTo>
                      <a:pt x="264" y="546"/>
                      <a:pt x="383" y="416"/>
                      <a:pt x="529" y="333"/>
                    </a:cubicBezTo>
                    <a:cubicBezTo>
                      <a:pt x="676" y="249"/>
                      <a:pt x="843" y="220"/>
                      <a:pt x="1010" y="248"/>
                    </a:cubicBezTo>
                    <a:cubicBezTo>
                      <a:pt x="1183" y="277"/>
                      <a:pt x="1344" y="365"/>
                      <a:pt x="1470" y="485"/>
                    </a:cubicBezTo>
                    <a:cubicBezTo>
                      <a:pt x="1604" y="612"/>
                      <a:pt x="1696" y="783"/>
                      <a:pt x="1742" y="962"/>
                    </a:cubicBezTo>
                    <a:cubicBezTo>
                      <a:pt x="1788" y="1142"/>
                      <a:pt x="1792" y="1336"/>
                      <a:pt x="1750" y="1517"/>
                    </a:cubicBezTo>
                    <a:cubicBezTo>
                      <a:pt x="1733" y="1594"/>
                      <a:pt x="1705" y="1669"/>
                      <a:pt x="1657" y="1732"/>
                    </a:cubicBezTo>
                    <a:cubicBezTo>
                      <a:pt x="1609" y="1798"/>
                      <a:pt x="1542" y="1842"/>
                      <a:pt x="1468" y="1873"/>
                    </a:cubicBezTo>
                    <a:cubicBezTo>
                      <a:pt x="1147" y="2007"/>
                      <a:pt x="773" y="1913"/>
                      <a:pt x="538" y="1659"/>
                    </a:cubicBezTo>
                    <a:cubicBezTo>
                      <a:pt x="417" y="1528"/>
                      <a:pt x="336" y="1364"/>
                      <a:pt x="303" y="1189"/>
                    </a:cubicBezTo>
                    <a:cubicBezTo>
                      <a:pt x="270" y="1015"/>
                      <a:pt x="283" y="835"/>
                      <a:pt x="328" y="665"/>
                    </a:cubicBezTo>
                    <a:cubicBezTo>
                      <a:pt x="374" y="492"/>
                      <a:pt x="454" y="328"/>
                      <a:pt x="593" y="212"/>
                    </a:cubicBezTo>
                    <a:cubicBezTo>
                      <a:pt x="661" y="155"/>
                      <a:pt x="740" y="112"/>
                      <a:pt x="827" y="90"/>
                    </a:cubicBezTo>
                    <a:cubicBezTo>
                      <a:pt x="918" y="68"/>
                      <a:pt x="1015" y="69"/>
                      <a:pt x="1107" y="88"/>
                    </a:cubicBezTo>
                    <a:cubicBezTo>
                      <a:pt x="1469" y="164"/>
                      <a:pt x="1758" y="463"/>
                      <a:pt x="1856" y="813"/>
                    </a:cubicBezTo>
                    <a:cubicBezTo>
                      <a:pt x="1901" y="973"/>
                      <a:pt x="1907" y="1141"/>
                      <a:pt x="1890" y="1306"/>
                    </a:cubicBezTo>
                    <a:cubicBezTo>
                      <a:pt x="1873" y="1462"/>
                      <a:pt x="1831" y="1622"/>
                      <a:pt x="1738" y="1751"/>
                    </a:cubicBezTo>
                    <a:cubicBezTo>
                      <a:pt x="1694" y="1814"/>
                      <a:pt x="1638" y="1866"/>
                      <a:pt x="1572" y="1905"/>
                    </a:cubicBezTo>
                    <a:cubicBezTo>
                      <a:pt x="1554" y="1915"/>
                      <a:pt x="1579" y="1930"/>
                      <a:pt x="1589" y="1932"/>
                    </a:cubicBezTo>
                    <a:cubicBezTo>
                      <a:pt x="1609" y="1938"/>
                      <a:pt x="1632" y="1936"/>
                      <a:pt x="1650" y="192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ffectLst>
                <a:outerShdw dist="76200" dir="978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20" name="Freeform 37">
                <a:extLst>
                  <a:ext uri="{FF2B5EF4-FFF2-40B4-BE49-F238E27FC236}">
                    <a16:creationId xmlns:a16="http://schemas.microsoft.com/office/drawing/2014/main" id="{681A9E27-6A78-4E9C-A8F4-95BB8AAA0E82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>
                <a:off x="4458458" y="2210749"/>
                <a:ext cx="4105275" cy="4236453"/>
              </a:xfrm>
              <a:custGeom>
                <a:avLst/>
                <a:gdLst>
                  <a:gd name="T0" fmla="*/ 1650 w 1997"/>
                  <a:gd name="T1" fmla="*/ 1925 h 2060"/>
                  <a:gd name="T2" fmla="*/ 1935 w 1997"/>
                  <a:gd name="T3" fmla="*/ 1531 h 2060"/>
                  <a:gd name="T4" fmla="*/ 1985 w 1997"/>
                  <a:gd name="T5" fmla="*/ 1036 h 2060"/>
                  <a:gd name="T6" fmla="*/ 1816 w 1997"/>
                  <a:gd name="T7" fmla="*/ 520 h 2060"/>
                  <a:gd name="T8" fmla="*/ 1397 w 1997"/>
                  <a:gd name="T9" fmla="*/ 141 h 2060"/>
                  <a:gd name="T10" fmla="*/ 755 w 1997"/>
                  <a:gd name="T11" fmla="*/ 63 h 2060"/>
                  <a:gd name="T12" fmla="*/ 333 w 1997"/>
                  <a:gd name="T13" fmla="*/ 414 h 2060"/>
                  <a:gd name="T14" fmla="*/ 234 w 1997"/>
                  <a:gd name="T15" fmla="*/ 683 h 2060"/>
                  <a:gd name="T16" fmla="*/ 195 w 1997"/>
                  <a:gd name="T17" fmla="*/ 958 h 2060"/>
                  <a:gd name="T18" fmla="*/ 318 w 1997"/>
                  <a:gd name="T19" fmla="*/ 1485 h 2060"/>
                  <a:gd name="T20" fmla="*/ 722 w 1997"/>
                  <a:gd name="T21" fmla="*/ 1874 h 2060"/>
                  <a:gd name="T22" fmla="*/ 1269 w 1997"/>
                  <a:gd name="T23" fmla="*/ 1969 h 2060"/>
                  <a:gd name="T24" fmla="*/ 1545 w 1997"/>
                  <a:gd name="T25" fmla="*/ 1895 h 2060"/>
                  <a:gd name="T26" fmla="*/ 1747 w 1997"/>
                  <a:gd name="T27" fmla="*/ 1739 h 2060"/>
                  <a:gd name="T28" fmla="*/ 1842 w 1997"/>
                  <a:gd name="T29" fmla="*/ 1511 h 2060"/>
                  <a:gd name="T30" fmla="*/ 1868 w 1997"/>
                  <a:gd name="T31" fmla="*/ 1222 h 2060"/>
                  <a:gd name="T32" fmla="*/ 1705 w 1997"/>
                  <a:gd name="T33" fmla="*/ 658 h 2060"/>
                  <a:gd name="T34" fmla="*/ 1285 w 1997"/>
                  <a:gd name="T35" fmla="*/ 286 h 2060"/>
                  <a:gd name="T36" fmla="*/ 711 w 1997"/>
                  <a:gd name="T37" fmla="*/ 213 h 2060"/>
                  <a:gd name="T38" fmla="*/ 251 w 1997"/>
                  <a:gd name="T39" fmla="*/ 473 h 2060"/>
                  <a:gd name="T40" fmla="*/ 22 w 1997"/>
                  <a:gd name="T41" fmla="*/ 957 h 2060"/>
                  <a:gd name="T42" fmla="*/ 128 w 1997"/>
                  <a:gd name="T43" fmla="*/ 1507 h 2060"/>
                  <a:gd name="T44" fmla="*/ 1060 w 1997"/>
                  <a:gd name="T45" fmla="*/ 2056 h 2060"/>
                  <a:gd name="T46" fmla="*/ 1330 w 1997"/>
                  <a:gd name="T47" fmla="*/ 2030 h 2060"/>
                  <a:gd name="T48" fmla="*/ 1346 w 1997"/>
                  <a:gd name="T49" fmla="*/ 2002 h 2060"/>
                  <a:gd name="T50" fmla="*/ 1285 w 1997"/>
                  <a:gd name="T51" fmla="*/ 1995 h 2060"/>
                  <a:gd name="T52" fmla="*/ 793 w 1997"/>
                  <a:gd name="T53" fmla="*/ 1965 h 2060"/>
                  <a:gd name="T54" fmla="*/ 358 w 1997"/>
                  <a:gd name="T55" fmla="*/ 1698 h 2060"/>
                  <a:gd name="T56" fmla="*/ 190 w 1997"/>
                  <a:gd name="T57" fmla="*/ 697 h 2060"/>
                  <a:gd name="T58" fmla="*/ 529 w 1997"/>
                  <a:gd name="T59" fmla="*/ 333 h 2060"/>
                  <a:gd name="T60" fmla="*/ 1010 w 1997"/>
                  <a:gd name="T61" fmla="*/ 248 h 2060"/>
                  <a:gd name="T62" fmla="*/ 1470 w 1997"/>
                  <a:gd name="T63" fmla="*/ 485 h 2060"/>
                  <a:gd name="T64" fmla="*/ 1742 w 1997"/>
                  <a:gd name="T65" fmla="*/ 962 h 2060"/>
                  <a:gd name="T66" fmla="*/ 1750 w 1997"/>
                  <a:gd name="T67" fmla="*/ 1517 h 2060"/>
                  <a:gd name="T68" fmla="*/ 1657 w 1997"/>
                  <a:gd name="T69" fmla="*/ 1732 h 2060"/>
                  <a:gd name="T70" fmla="*/ 1468 w 1997"/>
                  <a:gd name="T71" fmla="*/ 1873 h 2060"/>
                  <a:gd name="T72" fmla="*/ 538 w 1997"/>
                  <a:gd name="T73" fmla="*/ 1659 h 2060"/>
                  <a:gd name="T74" fmla="*/ 303 w 1997"/>
                  <a:gd name="T75" fmla="*/ 1189 h 2060"/>
                  <a:gd name="T76" fmla="*/ 328 w 1997"/>
                  <a:gd name="T77" fmla="*/ 665 h 2060"/>
                  <a:gd name="T78" fmla="*/ 593 w 1997"/>
                  <a:gd name="T79" fmla="*/ 212 h 2060"/>
                  <a:gd name="T80" fmla="*/ 827 w 1997"/>
                  <a:gd name="T81" fmla="*/ 90 h 2060"/>
                  <a:gd name="T82" fmla="*/ 1107 w 1997"/>
                  <a:gd name="T83" fmla="*/ 88 h 2060"/>
                  <a:gd name="T84" fmla="*/ 1856 w 1997"/>
                  <a:gd name="T85" fmla="*/ 813 h 2060"/>
                  <a:gd name="T86" fmla="*/ 1890 w 1997"/>
                  <a:gd name="T87" fmla="*/ 1306 h 2060"/>
                  <a:gd name="T88" fmla="*/ 1738 w 1997"/>
                  <a:gd name="T89" fmla="*/ 1751 h 2060"/>
                  <a:gd name="T90" fmla="*/ 1572 w 1997"/>
                  <a:gd name="T91" fmla="*/ 1905 h 2060"/>
                  <a:gd name="T92" fmla="*/ 1589 w 1997"/>
                  <a:gd name="T93" fmla="*/ 1932 h 2060"/>
                  <a:gd name="T94" fmla="*/ 1650 w 1997"/>
                  <a:gd name="T95" fmla="*/ 1925 h 20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997" h="2060">
                    <a:moveTo>
                      <a:pt x="1650" y="1925"/>
                    </a:moveTo>
                    <a:cubicBezTo>
                      <a:pt x="1796" y="1838"/>
                      <a:pt x="1887" y="1690"/>
                      <a:pt x="1935" y="1531"/>
                    </a:cubicBezTo>
                    <a:cubicBezTo>
                      <a:pt x="1983" y="1372"/>
                      <a:pt x="1997" y="1201"/>
                      <a:pt x="1985" y="1036"/>
                    </a:cubicBezTo>
                    <a:cubicBezTo>
                      <a:pt x="1971" y="854"/>
                      <a:pt x="1914" y="674"/>
                      <a:pt x="1816" y="520"/>
                    </a:cubicBezTo>
                    <a:cubicBezTo>
                      <a:pt x="1714" y="359"/>
                      <a:pt x="1567" y="228"/>
                      <a:pt x="1397" y="141"/>
                    </a:cubicBezTo>
                    <a:cubicBezTo>
                      <a:pt x="1203" y="41"/>
                      <a:pt x="967" y="0"/>
                      <a:pt x="755" y="63"/>
                    </a:cubicBezTo>
                    <a:cubicBezTo>
                      <a:pt x="573" y="117"/>
                      <a:pt x="424" y="249"/>
                      <a:pt x="333" y="414"/>
                    </a:cubicBezTo>
                    <a:cubicBezTo>
                      <a:pt x="288" y="498"/>
                      <a:pt x="257" y="590"/>
                      <a:pt x="234" y="683"/>
                    </a:cubicBezTo>
                    <a:cubicBezTo>
                      <a:pt x="211" y="773"/>
                      <a:pt x="198" y="865"/>
                      <a:pt x="195" y="958"/>
                    </a:cubicBezTo>
                    <a:cubicBezTo>
                      <a:pt x="190" y="1141"/>
                      <a:pt x="229" y="1325"/>
                      <a:pt x="318" y="1485"/>
                    </a:cubicBezTo>
                    <a:cubicBezTo>
                      <a:pt x="409" y="1652"/>
                      <a:pt x="551" y="1789"/>
                      <a:pt x="722" y="1874"/>
                    </a:cubicBezTo>
                    <a:cubicBezTo>
                      <a:pt x="890" y="1958"/>
                      <a:pt x="1083" y="1990"/>
                      <a:pt x="1269" y="1969"/>
                    </a:cubicBezTo>
                    <a:cubicBezTo>
                      <a:pt x="1364" y="1959"/>
                      <a:pt x="1458" y="1934"/>
                      <a:pt x="1545" y="1895"/>
                    </a:cubicBezTo>
                    <a:cubicBezTo>
                      <a:pt x="1625" y="1860"/>
                      <a:pt x="1696" y="1810"/>
                      <a:pt x="1747" y="1739"/>
                    </a:cubicBezTo>
                    <a:cubicBezTo>
                      <a:pt x="1796" y="1672"/>
                      <a:pt x="1824" y="1592"/>
                      <a:pt x="1842" y="1511"/>
                    </a:cubicBezTo>
                    <a:cubicBezTo>
                      <a:pt x="1863" y="1417"/>
                      <a:pt x="1871" y="1319"/>
                      <a:pt x="1868" y="1222"/>
                    </a:cubicBezTo>
                    <a:cubicBezTo>
                      <a:pt x="1862" y="1025"/>
                      <a:pt x="1809" y="826"/>
                      <a:pt x="1705" y="658"/>
                    </a:cubicBezTo>
                    <a:cubicBezTo>
                      <a:pt x="1605" y="496"/>
                      <a:pt x="1458" y="366"/>
                      <a:pt x="1285" y="286"/>
                    </a:cubicBezTo>
                    <a:cubicBezTo>
                      <a:pt x="1107" y="204"/>
                      <a:pt x="904" y="176"/>
                      <a:pt x="711" y="213"/>
                    </a:cubicBezTo>
                    <a:cubicBezTo>
                      <a:pt x="535" y="248"/>
                      <a:pt x="373" y="342"/>
                      <a:pt x="251" y="473"/>
                    </a:cubicBezTo>
                    <a:cubicBezTo>
                      <a:pt x="126" y="606"/>
                      <a:pt x="44" y="776"/>
                      <a:pt x="22" y="957"/>
                    </a:cubicBezTo>
                    <a:cubicBezTo>
                      <a:pt x="0" y="1145"/>
                      <a:pt x="40" y="1340"/>
                      <a:pt x="128" y="1507"/>
                    </a:cubicBezTo>
                    <a:cubicBezTo>
                      <a:pt x="306" y="1844"/>
                      <a:pt x="687" y="2040"/>
                      <a:pt x="1060" y="2056"/>
                    </a:cubicBezTo>
                    <a:cubicBezTo>
                      <a:pt x="1151" y="2060"/>
                      <a:pt x="1242" y="2052"/>
                      <a:pt x="1330" y="2030"/>
                    </a:cubicBezTo>
                    <a:cubicBezTo>
                      <a:pt x="1343" y="2026"/>
                      <a:pt x="1361" y="2015"/>
                      <a:pt x="1346" y="2002"/>
                    </a:cubicBezTo>
                    <a:cubicBezTo>
                      <a:pt x="1332" y="1989"/>
                      <a:pt x="1302" y="1990"/>
                      <a:pt x="1285" y="1995"/>
                    </a:cubicBezTo>
                    <a:cubicBezTo>
                      <a:pt x="1123" y="2036"/>
                      <a:pt x="952" y="2016"/>
                      <a:pt x="793" y="1965"/>
                    </a:cubicBezTo>
                    <a:cubicBezTo>
                      <a:pt x="631" y="1913"/>
                      <a:pt x="476" y="1822"/>
                      <a:pt x="358" y="1698"/>
                    </a:cubicBezTo>
                    <a:cubicBezTo>
                      <a:pt x="110" y="1436"/>
                      <a:pt x="29" y="1024"/>
                      <a:pt x="190" y="697"/>
                    </a:cubicBezTo>
                    <a:cubicBezTo>
                      <a:pt x="264" y="546"/>
                      <a:pt x="383" y="416"/>
                      <a:pt x="529" y="333"/>
                    </a:cubicBezTo>
                    <a:cubicBezTo>
                      <a:pt x="676" y="249"/>
                      <a:pt x="843" y="220"/>
                      <a:pt x="1010" y="248"/>
                    </a:cubicBezTo>
                    <a:cubicBezTo>
                      <a:pt x="1183" y="277"/>
                      <a:pt x="1344" y="365"/>
                      <a:pt x="1470" y="485"/>
                    </a:cubicBezTo>
                    <a:cubicBezTo>
                      <a:pt x="1604" y="612"/>
                      <a:pt x="1696" y="783"/>
                      <a:pt x="1742" y="962"/>
                    </a:cubicBezTo>
                    <a:cubicBezTo>
                      <a:pt x="1788" y="1142"/>
                      <a:pt x="1792" y="1336"/>
                      <a:pt x="1750" y="1517"/>
                    </a:cubicBezTo>
                    <a:cubicBezTo>
                      <a:pt x="1733" y="1594"/>
                      <a:pt x="1705" y="1669"/>
                      <a:pt x="1657" y="1732"/>
                    </a:cubicBezTo>
                    <a:cubicBezTo>
                      <a:pt x="1609" y="1798"/>
                      <a:pt x="1542" y="1842"/>
                      <a:pt x="1468" y="1873"/>
                    </a:cubicBezTo>
                    <a:cubicBezTo>
                      <a:pt x="1147" y="2007"/>
                      <a:pt x="773" y="1913"/>
                      <a:pt x="538" y="1659"/>
                    </a:cubicBezTo>
                    <a:cubicBezTo>
                      <a:pt x="417" y="1528"/>
                      <a:pt x="336" y="1364"/>
                      <a:pt x="303" y="1189"/>
                    </a:cubicBezTo>
                    <a:cubicBezTo>
                      <a:pt x="270" y="1015"/>
                      <a:pt x="283" y="835"/>
                      <a:pt x="328" y="665"/>
                    </a:cubicBezTo>
                    <a:cubicBezTo>
                      <a:pt x="374" y="492"/>
                      <a:pt x="454" y="328"/>
                      <a:pt x="593" y="212"/>
                    </a:cubicBezTo>
                    <a:cubicBezTo>
                      <a:pt x="661" y="155"/>
                      <a:pt x="740" y="112"/>
                      <a:pt x="827" y="90"/>
                    </a:cubicBezTo>
                    <a:cubicBezTo>
                      <a:pt x="918" y="68"/>
                      <a:pt x="1015" y="69"/>
                      <a:pt x="1107" y="88"/>
                    </a:cubicBezTo>
                    <a:cubicBezTo>
                      <a:pt x="1469" y="164"/>
                      <a:pt x="1758" y="463"/>
                      <a:pt x="1856" y="813"/>
                    </a:cubicBezTo>
                    <a:cubicBezTo>
                      <a:pt x="1901" y="973"/>
                      <a:pt x="1907" y="1141"/>
                      <a:pt x="1890" y="1306"/>
                    </a:cubicBezTo>
                    <a:cubicBezTo>
                      <a:pt x="1873" y="1462"/>
                      <a:pt x="1831" y="1622"/>
                      <a:pt x="1738" y="1751"/>
                    </a:cubicBezTo>
                    <a:cubicBezTo>
                      <a:pt x="1694" y="1814"/>
                      <a:pt x="1638" y="1866"/>
                      <a:pt x="1572" y="1905"/>
                    </a:cubicBezTo>
                    <a:cubicBezTo>
                      <a:pt x="1554" y="1915"/>
                      <a:pt x="1579" y="1930"/>
                      <a:pt x="1589" y="1932"/>
                    </a:cubicBezTo>
                    <a:cubicBezTo>
                      <a:pt x="1609" y="1938"/>
                      <a:pt x="1632" y="1936"/>
                      <a:pt x="1650" y="192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ffectLst>
                <a:outerShdw dist="76200" dir="978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21" name="Freeform 21">
                <a:extLst>
                  <a:ext uri="{FF2B5EF4-FFF2-40B4-BE49-F238E27FC236}">
                    <a16:creationId xmlns:a16="http://schemas.microsoft.com/office/drawing/2014/main" id="{FEACDF8A-A5CB-405A-9C9B-DD49C52F8E3A}"/>
                  </a:ext>
                </a:extLst>
              </p:cNvPr>
              <p:cNvSpPr>
                <a:spLocks/>
              </p:cNvSpPr>
              <p:nvPr/>
            </p:nvSpPr>
            <p:spPr bwMode="auto">
              <a:xfrm rot="4142230">
                <a:off x="3820383" y="1420921"/>
                <a:ext cx="4878060" cy="4804822"/>
              </a:xfrm>
              <a:custGeom>
                <a:avLst/>
                <a:gdLst>
                  <a:gd name="T0" fmla="*/ 373 w 2195"/>
                  <a:gd name="T1" fmla="*/ 444 h 2161"/>
                  <a:gd name="T2" fmla="*/ 249 w 2195"/>
                  <a:gd name="T3" fmla="*/ 669 h 2161"/>
                  <a:gd name="T4" fmla="*/ 201 w 2195"/>
                  <a:gd name="T5" fmla="*/ 832 h 2161"/>
                  <a:gd name="T6" fmla="*/ 171 w 2195"/>
                  <a:gd name="T7" fmla="*/ 1028 h 2161"/>
                  <a:gd name="T8" fmla="*/ 205 w 2195"/>
                  <a:gd name="T9" fmla="*/ 1269 h 2161"/>
                  <a:gd name="T10" fmla="*/ 927 w 2195"/>
                  <a:gd name="T11" fmla="*/ 1911 h 2161"/>
                  <a:gd name="T12" fmla="*/ 1519 w 2195"/>
                  <a:gd name="T13" fmla="*/ 1907 h 2161"/>
                  <a:gd name="T14" fmla="*/ 1968 w 2195"/>
                  <a:gd name="T15" fmla="*/ 1611 h 2161"/>
                  <a:gd name="T16" fmla="*/ 2022 w 2195"/>
                  <a:gd name="T17" fmla="*/ 663 h 2161"/>
                  <a:gd name="T18" fmla="*/ 1302 w 2195"/>
                  <a:gd name="T19" fmla="*/ 73 h 2161"/>
                  <a:gd name="T20" fmla="*/ 335 w 2195"/>
                  <a:gd name="T21" fmla="*/ 330 h 2161"/>
                  <a:gd name="T22" fmla="*/ 91 w 2195"/>
                  <a:gd name="T23" fmla="*/ 1291 h 2161"/>
                  <a:gd name="T24" fmla="*/ 677 w 2195"/>
                  <a:gd name="T25" fmla="*/ 2000 h 2161"/>
                  <a:gd name="T26" fmla="*/ 1462 w 2195"/>
                  <a:gd name="T27" fmla="*/ 2120 h 2161"/>
                  <a:gd name="T28" fmla="*/ 2100 w 2195"/>
                  <a:gd name="T29" fmla="*/ 1737 h 2161"/>
                  <a:gd name="T30" fmla="*/ 2192 w 2195"/>
                  <a:gd name="T31" fmla="*/ 1561 h 2161"/>
                  <a:gd name="T32" fmla="*/ 2147 w 2195"/>
                  <a:gd name="T33" fmla="*/ 1550 h 2161"/>
                  <a:gd name="T34" fmla="*/ 2102 w 2195"/>
                  <a:gd name="T35" fmla="*/ 1561 h 2161"/>
                  <a:gd name="T36" fmla="*/ 1585 w 2195"/>
                  <a:gd name="T37" fmla="*/ 2059 h 2161"/>
                  <a:gd name="T38" fmla="*/ 1417 w 2195"/>
                  <a:gd name="T39" fmla="*/ 2101 h 2161"/>
                  <a:gd name="T40" fmla="*/ 1247 w 2195"/>
                  <a:gd name="T41" fmla="*/ 2113 h 2161"/>
                  <a:gd name="T42" fmla="*/ 1238 w 2195"/>
                  <a:gd name="T43" fmla="*/ 2113 h 2161"/>
                  <a:gd name="T44" fmla="*/ 1231 w 2195"/>
                  <a:gd name="T45" fmla="*/ 2113 h 2161"/>
                  <a:gd name="T46" fmla="*/ 1210 w 2195"/>
                  <a:gd name="T47" fmla="*/ 2112 h 2161"/>
                  <a:gd name="T48" fmla="*/ 1162 w 2195"/>
                  <a:gd name="T49" fmla="*/ 2109 h 2161"/>
                  <a:gd name="T50" fmla="*/ 1075 w 2195"/>
                  <a:gd name="T51" fmla="*/ 2097 h 2161"/>
                  <a:gd name="T52" fmla="*/ 903 w 2195"/>
                  <a:gd name="T53" fmla="*/ 2052 h 2161"/>
                  <a:gd name="T54" fmla="*/ 268 w 2195"/>
                  <a:gd name="T55" fmla="*/ 1511 h 2161"/>
                  <a:gd name="T56" fmla="*/ 145 w 2195"/>
                  <a:gd name="T57" fmla="*/ 1029 h 2161"/>
                  <a:gd name="T58" fmla="*/ 264 w 2195"/>
                  <a:gd name="T59" fmla="*/ 552 h 2161"/>
                  <a:gd name="T60" fmla="*/ 594 w 2195"/>
                  <a:gd name="T61" fmla="*/ 198 h 2161"/>
                  <a:gd name="T62" fmla="*/ 1045 w 2195"/>
                  <a:gd name="T63" fmla="*/ 69 h 2161"/>
                  <a:gd name="T64" fmla="*/ 1832 w 2195"/>
                  <a:gd name="T65" fmla="*/ 489 h 2161"/>
                  <a:gd name="T66" fmla="*/ 1992 w 2195"/>
                  <a:gd name="T67" fmla="*/ 1355 h 2161"/>
                  <a:gd name="T68" fmla="*/ 1702 w 2195"/>
                  <a:gd name="T69" fmla="*/ 1783 h 2161"/>
                  <a:gd name="T70" fmla="*/ 1199 w 2195"/>
                  <a:gd name="T71" fmla="*/ 1924 h 2161"/>
                  <a:gd name="T72" fmla="*/ 377 w 2195"/>
                  <a:gd name="T73" fmla="*/ 1446 h 2161"/>
                  <a:gd name="T74" fmla="*/ 262 w 2195"/>
                  <a:gd name="T75" fmla="*/ 998 h 2161"/>
                  <a:gd name="T76" fmla="*/ 293 w 2195"/>
                  <a:gd name="T77" fmla="*/ 821 h 2161"/>
                  <a:gd name="T78" fmla="*/ 341 w 2195"/>
                  <a:gd name="T79" fmla="*/ 665 h 2161"/>
                  <a:gd name="T80" fmla="*/ 460 w 2195"/>
                  <a:gd name="T81" fmla="*/ 449 h 2161"/>
                  <a:gd name="T82" fmla="*/ 428 w 2195"/>
                  <a:gd name="T83" fmla="*/ 436 h 2161"/>
                  <a:gd name="T84" fmla="*/ 373 w 2195"/>
                  <a:gd name="T85" fmla="*/ 444 h 2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195" h="2161">
                    <a:moveTo>
                      <a:pt x="373" y="444"/>
                    </a:moveTo>
                    <a:cubicBezTo>
                      <a:pt x="326" y="515"/>
                      <a:pt x="281" y="590"/>
                      <a:pt x="249" y="669"/>
                    </a:cubicBezTo>
                    <a:cubicBezTo>
                      <a:pt x="227" y="722"/>
                      <a:pt x="212" y="776"/>
                      <a:pt x="201" y="832"/>
                    </a:cubicBezTo>
                    <a:cubicBezTo>
                      <a:pt x="188" y="897"/>
                      <a:pt x="173" y="961"/>
                      <a:pt x="171" y="1028"/>
                    </a:cubicBezTo>
                    <a:cubicBezTo>
                      <a:pt x="168" y="1110"/>
                      <a:pt x="180" y="1191"/>
                      <a:pt x="205" y="1269"/>
                    </a:cubicBezTo>
                    <a:cubicBezTo>
                      <a:pt x="309" y="1590"/>
                      <a:pt x="606" y="1830"/>
                      <a:pt x="927" y="1911"/>
                    </a:cubicBezTo>
                    <a:cubicBezTo>
                      <a:pt x="1119" y="1959"/>
                      <a:pt x="1328" y="1959"/>
                      <a:pt x="1519" y="1907"/>
                    </a:cubicBezTo>
                    <a:cubicBezTo>
                      <a:pt x="1697" y="1860"/>
                      <a:pt x="1864" y="1766"/>
                      <a:pt x="1968" y="1611"/>
                    </a:cubicBezTo>
                    <a:cubicBezTo>
                      <a:pt x="2155" y="1335"/>
                      <a:pt x="2157" y="960"/>
                      <a:pt x="2022" y="663"/>
                    </a:cubicBezTo>
                    <a:cubicBezTo>
                      <a:pt x="1887" y="367"/>
                      <a:pt x="1621" y="142"/>
                      <a:pt x="1302" y="73"/>
                    </a:cubicBezTo>
                    <a:cubicBezTo>
                      <a:pt x="963" y="0"/>
                      <a:pt x="582" y="77"/>
                      <a:pt x="335" y="330"/>
                    </a:cubicBezTo>
                    <a:cubicBezTo>
                      <a:pt x="90" y="581"/>
                      <a:pt x="0" y="954"/>
                      <a:pt x="91" y="1291"/>
                    </a:cubicBezTo>
                    <a:cubicBezTo>
                      <a:pt x="175" y="1599"/>
                      <a:pt x="392" y="1858"/>
                      <a:pt x="677" y="2000"/>
                    </a:cubicBezTo>
                    <a:cubicBezTo>
                      <a:pt x="916" y="2120"/>
                      <a:pt x="1198" y="2161"/>
                      <a:pt x="1462" y="2120"/>
                    </a:cubicBezTo>
                    <a:cubicBezTo>
                      <a:pt x="1716" y="2080"/>
                      <a:pt x="1954" y="1954"/>
                      <a:pt x="2100" y="1737"/>
                    </a:cubicBezTo>
                    <a:cubicBezTo>
                      <a:pt x="2137" y="1682"/>
                      <a:pt x="2167" y="1623"/>
                      <a:pt x="2192" y="1561"/>
                    </a:cubicBezTo>
                    <a:cubicBezTo>
                      <a:pt x="2195" y="1552"/>
                      <a:pt x="2151" y="1550"/>
                      <a:pt x="2147" y="1550"/>
                    </a:cubicBezTo>
                    <a:cubicBezTo>
                      <a:pt x="2137" y="1550"/>
                      <a:pt x="2107" y="1549"/>
                      <a:pt x="2102" y="1561"/>
                    </a:cubicBezTo>
                    <a:cubicBezTo>
                      <a:pt x="2009" y="1795"/>
                      <a:pt x="1823" y="1975"/>
                      <a:pt x="1585" y="2059"/>
                    </a:cubicBezTo>
                    <a:cubicBezTo>
                      <a:pt x="1531" y="2078"/>
                      <a:pt x="1474" y="2093"/>
                      <a:pt x="1417" y="2101"/>
                    </a:cubicBezTo>
                    <a:cubicBezTo>
                      <a:pt x="1356" y="2111"/>
                      <a:pt x="1306" y="2114"/>
                      <a:pt x="1247" y="2113"/>
                    </a:cubicBezTo>
                    <a:cubicBezTo>
                      <a:pt x="1244" y="2113"/>
                      <a:pt x="1241" y="2113"/>
                      <a:pt x="1238" y="2113"/>
                    </a:cubicBezTo>
                    <a:cubicBezTo>
                      <a:pt x="1238" y="2113"/>
                      <a:pt x="1222" y="2113"/>
                      <a:pt x="1231" y="2113"/>
                    </a:cubicBezTo>
                    <a:cubicBezTo>
                      <a:pt x="1224" y="2113"/>
                      <a:pt x="1217" y="2113"/>
                      <a:pt x="1210" y="2112"/>
                    </a:cubicBezTo>
                    <a:cubicBezTo>
                      <a:pt x="1194" y="2111"/>
                      <a:pt x="1178" y="2110"/>
                      <a:pt x="1162" y="2109"/>
                    </a:cubicBezTo>
                    <a:cubicBezTo>
                      <a:pt x="1139" y="2106"/>
                      <a:pt x="1103" y="2101"/>
                      <a:pt x="1075" y="2097"/>
                    </a:cubicBezTo>
                    <a:cubicBezTo>
                      <a:pt x="1017" y="2086"/>
                      <a:pt x="959" y="2071"/>
                      <a:pt x="903" y="2052"/>
                    </a:cubicBezTo>
                    <a:cubicBezTo>
                      <a:pt x="631" y="1959"/>
                      <a:pt x="401" y="1767"/>
                      <a:pt x="268" y="1511"/>
                    </a:cubicBezTo>
                    <a:cubicBezTo>
                      <a:pt x="190" y="1363"/>
                      <a:pt x="146" y="1197"/>
                      <a:pt x="145" y="1029"/>
                    </a:cubicBezTo>
                    <a:cubicBezTo>
                      <a:pt x="144" y="864"/>
                      <a:pt x="186" y="698"/>
                      <a:pt x="264" y="552"/>
                    </a:cubicBezTo>
                    <a:cubicBezTo>
                      <a:pt x="340" y="408"/>
                      <a:pt x="454" y="283"/>
                      <a:pt x="594" y="198"/>
                    </a:cubicBezTo>
                    <a:cubicBezTo>
                      <a:pt x="729" y="116"/>
                      <a:pt x="887" y="70"/>
                      <a:pt x="1045" y="69"/>
                    </a:cubicBezTo>
                    <a:cubicBezTo>
                      <a:pt x="1359" y="66"/>
                      <a:pt x="1652" y="235"/>
                      <a:pt x="1832" y="489"/>
                    </a:cubicBezTo>
                    <a:cubicBezTo>
                      <a:pt x="2008" y="738"/>
                      <a:pt x="2072" y="1060"/>
                      <a:pt x="1992" y="1355"/>
                    </a:cubicBezTo>
                    <a:cubicBezTo>
                      <a:pt x="1946" y="1528"/>
                      <a:pt x="1853" y="1683"/>
                      <a:pt x="1702" y="1783"/>
                    </a:cubicBezTo>
                    <a:cubicBezTo>
                      <a:pt x="1556" y="1881"/>
                      <a:pt x="1374" y="1927"/>
                      <a:pt x="1199" y="1924"/>
                    </a:cubicBezTo>
                    <a:cubicBezTo>
                      <a:pt x="869" y="1919"/>
                      <a:pt x="549" y="1726"/>
                      <a:pt x="377" y="1446"/>
                    </a:cubicBezTo>
                    <a:cubicBezTo>
                      <a:pt x="295" y="1312"/>
                      <a:pt x="250" y="1155"/>
                      <a:pt x="262" y="998"/>
                    </a:cubicBezTo>
                    <a:cubicBezTo>
                      <a:pt x="267" y="938"/>
                      <a:pt x="281" y="879"/>
                      <a:pt x="293" y="821"/>
                    </a:cubicBezTo>
                    <a:cubicBezTo>
                      <a:pt x="305" y="767"/>
                      <a:pt x="320" y="715"/>
                      <a:pt x="341" y="665"/>
                    </a:cubicBezTo>
                    <a:cubicBezTo>
                      <a:pt x="372" y="589"/>
                      <a:pt x="414" y="518"/>
                      <a:pt x="460" y="449"/>
                    </a:cubicBezTo>
                    <a:cubicBezTo>
                      <a:pt x="467" y="438"/>
                      <a:pt x="433" y="436"/>
                      <a:pt x="428" y="436"/>
                    </a:cubicBezTo>
                    <a:cubicBezTo>
                      <a:pt x="418" y="435"/>
                      <a:pt x="381" y="432"/>
                      <a:pt x="373" y="44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ffectLst>
                <a:outerShdw dist="76200" dir="978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</p:grp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E2B64508-FCE5-4D28-95C0-E914845C1810}"/>
              </a:ext>
            </a:extLst>
          </p:cNvPr>
          <p:cNvSpPr/>
          <p:nvPr/>
        </p:nvSpPr>
        <p:spPr>
          <a:xfrm>
            <a:off x="4206046" y="248361"/>
            <a:ext cx="3836232" cy="400555"/>
          </a:xfrm>
          <a:prstGeom prst="roundRect">
            <a:avLst/>
          </a:prstGeom>
          <a:solidFill>
            <a:schemeClr val="tx1">
              <a:lumMod val="75000"/>
              <a:lumOff val="25000"/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>
                <a:latin typeface="Arial" panose="020B0604020202020204" pitchFamily="34" charset="0"/>
                <a:cs typeface="Arial" panose="020B0604020202020204" pitchFamily="34" charset="0"/>
              </a:rPr>
              <a:t>Adaptive Portfolio Management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852710D8-DB78-47C9-A401-5D484ECF11D9}"/>
              </a:ext>
            </a:extLst>
          </p:cNvPr>
          <p:cNvSpPr/>
          <p:nvPr/>
        </p:nvSpPr>
        <p:spPr>
          <a:xfrm>
            <a:off x="427568" y="3414903"/>
            <a:ext cx="3421091" cy="374345"/>
          </a:xfrm>
          <a:prstGeom prst="roundRect">
            <a:avLst/>
          </a:prstGeom>
          <a:solidFill>
            <a:schemeClr val="tx1">
              <a:lumMod val="75000"/>
              <a:lumOff val="25000"/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>
                <a:latin typeface="Arial" panose="020B0604020202020204" pitchFamily="34" charset="0"/>
                <a:cs typeface="Arial" panose="020B0604020202020204" pitchFamily="34" charset="0"/>
              </a:rPr>
              <a:t>Risk &amp; Integration Management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DCB17200-43B5-4429-BBC1-BE67FB020B43}"/>
              </a:ext>
            </a:extLst>
          </p:cNvPr>
          <p:cNvSpPr/>
          <p:nvPr/>
        </p:nvSpPr>
        <p:spPr>
          <a:xfrm>
            <a:off x="7320614" y="1008429"/>
            <a:ext cx="3432921" cy="386698"/>
          </a:xfrm>
          <a:prstGeom prst="roundRect">
            <a:avLst/>
          </a:prstGeom>
          <a:solidFill>
            <a:schemeClr val="tx1">
              <a:lumMod val="75000"/>
              <a:lumOff val="25000"/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>
                <a:latin typeface="Arial" panose="020B0604020202020204" pitchFamily="34" charset="0"/>
                <a:cs typeface="Arial" panose="020B0604020202020204" pitchFamily="34" charset="0"/>
              </a:rPr>
              <a:t>Value Chain Alignment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EC1A37F-F8D5-436B-BE78-57542EA05C61}"/>
              </a:ext>
            </a:extLst>
          </p:cNvPr>
          <p:cNvSpPr/>
          <p:nvPr/>
        </p:nvSpPr>
        <p:spPr>
          <a:xfrm>
            <a:off x="196644" y="4239646"/>
            <a:ext cx="3878326" cy="416607"/>
          </a:xfrm>
          <a:prstGeom prst="roundRect">
            <a:avLst/>
          </a:prstGeom>
          <a:solidFill>
            <a:schemeClr val="tx1">
              <a:lumMod val="75000"/>
              <a:lumOff val="25000"/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>
                <a:latin typeface="Arial" panose="020B0604020202020204" pitchFamily="34" charset="0"/>
                <a:cs typeface="Arial" panose="020B0604020202020204" pitchFamily="34" charset="0"/>
              </a:rPr>
              <a:t>Performance &amp; Change Management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B8B7090F-E4E5-4394-8947-D04FF14CAFB5}"/>
              </a:ext>
            </a:extLst>
          </p:cNvPr>
          <p:cNvSpPr/>
          <p:nvPr/>
        </p:nvSpPr>
        <p:spPr>
          <a:xfrm>
            <a:off x="938970" y="5077934"/>
            <a:ext cx="3595906" cy="398543"/>
          </a:xfrm>
          <a:prstGeom prst="roundRect">
            <a:avLst/>
          </a:prstGeom>
          <a:solidFill>
            <a:schemeClr val="tx1">
              <a:lumMod val="75000"/>
              <a:lumOff val="25000"/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toring, Coaching  &amp; Training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BFF691E1-82BC-4656-BC46-5B85F804AFDF}"/>
              </a:ext>
            </a:extLst>
          </p:cNvPr>
          <p:cNvSpPr/>
          <p:nvPr/>
        </p:nvSpPr>
        <p:spPr>
          <a:xfrm>
            <a:off x="8278337" y="3414903"/>
            <a:ext cx="3205463" cy="383933"/>
          </a:xfrm>
          <a:prstGeom prst="roundRect">
            <a:avLst/>
          </a:prstGeom>
          <a:solidFill>
            <a:schemeClr val="tx1">
              <a:lumMod val="75000"/>
              <a:lumOff val="25000"/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>
                <a:latin typeface="Arial" panose="020B0604020202020204" pitchFamily="34" charset="0"/>
                <a:cs typeface="Arial" panose="020B0604020202020204" pitchFamily="34" charset="0"/>
              </a:rPr>
              <a:t>Budget &amp; Financial Acumen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88B8CC39-025F-4B4B-AD30-98951795519F}"/>
              </a:ext>
            </a:extLst>
          </p:cNvPr>
          <p:cNvSpPr/>
          <p:nvPr/>
        </p:nvSpPr>
        <p:spPr>
          <a:xfrm>
            <a:off x="3424901" y="6017829"/>
            <a:ext cx="5398522" cy="409539"/>
          </a:xfrm>
          <a:prstGeom prst="roundRect">
            <a:avLst/>
          </a:prstGeom>
          <a:solidFill>
            <a:schemeClr val="tx1">
              <a:lumMod val="75000"/>
              <a:lumOff val="25000"/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>
                <a:latin typeface="Arial" panose="020B0604020202020204" pitchFamily="34" charset="0"/>
                <a:cs typeface="Arial" panose="020B0604020202020204" pitchFamily="34" charset="0"/>
              </a:rPr>
              <a:t>Executive Communication  &amp; Stakeholders Management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33E74AC3-7031-434A-B884-1BCFE8E2A6AC}"/>
              </a:ext>
            </a:extLst>
          </p:cNvPr>
          <p:cNvSpPr/>
          <p:nvPr/>
        </p:nvSpPr>
        <p:spPr>
          <a:xfrm>
            <a:off x="7946342" y="1860342"/>
            <a:ext cx="3708621" cy="334729"/>
          </a:xfrm>
          <a:prstGeom prst="roundRect">
            <a:avLst/>
          </a:prstGeom>
          <a:solidFill>
            <a:schemeClr val="tx1">
              <a:lumMod val="75000"/>
              <a:lumOff val="25000"/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>
                <a:latin typeface="Arial" panose="020B0604020202020204" pitchFamily="34" charset="0"/>
                <a:cs typeface="Arial" panose="020B0604020202020204" pitchFamily="34" charset="0"/>
              </a:rPr>
              <a:t>Real-Time Dashboards &amp; Automation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402C7A74-CB16-467B-BCD8-D77D2E80D363}"/>
              </a:ext>
            </a:extLst>
          </p:cNvPr>
          <p:cNvSpPr/>
          <p:nvPr/>
        </p:nvSpPr>
        <p:spPr>
          <a:xfrm>
            <a:off x="7571531" y="5092544"/>
            <a:ext cx="3743176" cy="383933"/>
          </a:xfrm>
          <a:prstGeom prst="roundRect">
            <a:avLst/>
          </a:prstGeom>
          <a:solidFill>
            <a:schemeClr val="tx1">
              <a:lumMod val="75000"/>
              <a:lumOff val="25000"/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>
                <a:latin typeface="Arial" panose="020B0604020202020204" pitchFamily="34" charset="0"/>
                <a:cs typeface="Arial" panose="020B0604020202020204" pitchFamily="34" charset="0"/>
              </a:rPr>
              <a:t>Portfolio Value Optimization &amp; Velocity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7BB74D00-CFEF-4550-AD18-99F707CD20EB}"/>
              </a:ext>
            </a:extLst>
          </p:cNvPr>
          <p:cNvSpPr/>
          <p:nvPr/>
        </p:nvSpPr>
        <p:spPr>
          <a:xfrm>
            <a:off x="488552" y="2607198"/>
            <a:ext cx="3421091" cy="353791"/>
          </a:xfrm>
          <a:prstGeom prst="roundRect">
            <a:avLst/>
          </a:prstGeom>
          <a:solidFill>
            <a:schemeClr val="tx1">
              <a:lumMod val="75000"/>
              <a:lumOff val="25000"/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>
                <a:latin typeface="Arial" panose="020B0604020202020204" pitchFamily="34" charset="0"/>
                <a:cs typeface="Arial" panose="020B0604020202020204" pitchFamily="34" charset="0"/>
              </a:rPr>
              <a:t>Demand &amp; Resource Management</a:t>
            </a: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9D65B7D4-9434-443B-9C9A-3CBE7E4A2BEE}"/>
              </a:ext>
            </a:extLst>
          </p:cNvPr>
          <p:cNvSpPr/>
          <p:nvPr/>
        </p:nvSpPr>
        <p:spPr>
          <a:xfrm>
            <a:off x="8196500" y="2607198"/>
            <a:ext cx="3153513" cy="409539"/>
          </a:xfrm>
          <a:prstGeom prst="roundRect">
            <a:avLst/>
          </a:prstGeom>
          <a:solidFill>
            <a:schemeClr val="tx1">
              <a:lumMod val="75000"/>
              <a:lumOff val="25000"/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>
                <a:latin typeface="Arial" panose="020B0604020202020204" pitchFamily="34" charset="0"/>
                <a:cs typeface="Arial" panose="020B0604020202020204" pitchFamily="34" charset="0"/>
              </a:rPr>
              <a:t>COBIT, PMMM, EPMO &amp; CoE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D2419A1B-B212-4FF7-B38A-3B97E17BFE21}"/>
              </a:ext>
            </a:extLst>
          </p:cNvPr>
          <p:cNvSpPr/>
          <p:nvPr/>
        </p:nvSpPr>
        <p:spPr>
          <a:xfrm>
            <a:off x="1624105" y="1008429"/>
            <a:ext cx="3294532" cy="415583"/>
          </a:xfrm>
          <a:prstGeom prst="roundRect">
            <a:avLst/>
          </a:prstGeom>
          <a:solidFill>
            <a:schemeClr val="tx1">
              <a:lumMod val="75000"/>
              <a:lumOff val="25000"/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>
                <a:latin typeface="Arial" panose="020B0604020202020204" pitchFamily="34" charset="0"/>
                <a:cs typeface="Arial" panose="020B0604020202020204" pitchFamily="34" charset="0"/>
              </a:rPr>
              <a:t>Scalable Governanc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F6B0901-BB25-4441-9C52-96C926E43CDE}"/>
              </a:ext>
            </a:extLst>
          </p:cNvPr>
          <p:cNvSpPr txBox="1"/>
          <p:nvPr/>
        </p:nvSpPr>
        <p:spPr>
          <a:xfrm>
            <a:off x="4100622" y="2767469"/>
            <a:ext cx="386023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2800" b="1">
                <a:solidFill>
                  <a:srgbClr val="3333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etencies </a:t>
            </a:r>
          </a:p>
          <a:p>
            <a:pPr algn="ctr"/>
            <a:r>
              <a:rPr lang="en-IN" sz="2800" b="1">
                <a:solidFill>
                  <a:srgbClr val="3333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amp;</a:t>
            </a:r>
          </a:p>
          <a:p>
            <a:pPr algn="ctr"/>
            <a:r>
              <a:rPr lang="en-IN" sz="2800" b="1">
                <a:solidFill>
                  <a:srgbClr val="3333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ue Offering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84109D0-D4AB-5601-7BFC-1587FD854564}"/>
              </a:ext>
            </a:extLst>
          </p:cNvPr>
          <p:cNvSpPr txBox="1"/>
          <p:nvPr/>
        </p:nvSpPr>
        <p:spPr>
          <a:xfrm>
            <a:off x="9323643" y="6541348"/>
            <a:ext cx="2865182" cy="307777"/>
          </a:xfrm>
          <a:prstGeom prst="rect">
            <a:avLst/>
          </a:prstGeom>
          <a:solidFill>
            <a:srgbClr val="3333FF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i="1">
                <a:solidFill>
                  <a:schemeClr val="bg1"/>
                </a:solidFill>
                <a:highlight>
                  <a:srgbClr val="0000FF"/>
                </a:highlight>
              </a:rPr>
              <a:t>this list is not exhaustive…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172BC369-6769-48FC-7DB8-017EB985B53E}"/>
              </a:ext>
            </a:extLst>
          </p:cNvPr>
          <p:cNvSpPr/>
          <p:nvPr/>
        </p:nvSpPr>
        <p:spPr>
          <a:xfrm>
            <a:off x="944789" y="1860342"/>
            <a:ext cx="3254145" cy="398543"/>
          </a:xfrm>
          <a:prstGeom prst="roundRect">
            <a:avLst/>
          </a:prstGeom>
          <a:solidFill>
            <a:schemeClr val="tx1">
              <a:lumMod val="75000"/>
              <a:lumOff val="25000"/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>
                <a:latin typeface="Arial" panose="020B0604020202020204" pitchFamily="34" charset="0"/>
                <a:cs typeface="Arial" panose="020B0604020202020204" pitchFamily="34" charset="0"/>
              </a:rPr>
              <a:t>Roadmap-to-Strategy Synergies</a:t>
            </a: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A732AC58-2F3A-9EF8-8576-09A4D14DABC8}"/>
              </a:ext>
            </a:extLst>
          </p:cNvPr>
          <p:cNvSpPr/>
          <p:nvPr/>
        </p:nvSpPr>
        <p:spPr>
          <a:xfrm>
            <a:off x="8105225" y="4239646"/>
            <a:ext cx="3708621" cy="398543"/>
          </a:xfrm>
          <a:prstGeom prst="roundRect">
            <a:avLst/>
          </a:prstGeom>
          <a:solidFill>
            <a:schemeClr val="tx1">
              <a:lumMod val="75000"/>
              <a:lumOff val="25000"/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>
                <a:latin typeface="Arial" panose="020B0604020202020204" pitchFamily="34" charset="0"/>
                <a:cs typeface="Arial" panose="020B0604020202020204" pitchFamily="34" charset="0"/>
              </a:rPr>
              <a:t>Cross-Functional Teams Collaboration</a:t>
            </a:r>
          </a:p>
        </p:txBody>
      </p:sp>
    </p:spTree>
    <p:extLst>
      <p:ext uri="{BB962C8B-B14F-4D97-AF65-F5344CB8AC3E}">
        <p14:creationId xmlns:p14="http://schemas.microsoft.com/office/powerpoint/2010/main" val="20043334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431">
      <a:dk1>
        <a:sysClr val="windowText" lastClr="000000"/>
      </a:dk1>
      <a:lt1>
        <a:sysClr val="window" lastClr="FFFFFF"/>
      </a:lt1>
      <a:dk2>
        <a:srgbClr val="153153"/>
      </a:dk2>
      <a:lt2>
        <a:srgbClr val="EEECE1"/>
      </a:lt2>
      <a:accent1>
        <a:srgbClr val="3670EF"/>
      </a:accent1>
      <a:accent2>
        <a:srgbClr val="F1715B"/>
      </a:accent2>
      <a:accent3>
        <a:srgbClr val="F4A748"/>
      </a:accent3>
      <a:accent4>
        <a:srgbClr val="F5F350"/>
      </a:accent4>
      <a:accent5>
        <a:srgbClr val="7AE060"/>
      </a:accent5>
      <a:accent6>
        <a:srgbClr val="5ACCBC"/>
      </a:accent6>
      <a:hlink>
        <a:srgbClr val="0000FF"/>
      </a:hlink>
      <a:folHlink>
        <a:srgbClr val="800080"/>
      </a:folHlink>
    </a:clrScheme>
    <a:fontScheme name="slidemodel">
      <a:majorFont>
        <a:latin typeface="Calibr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Office Theme">
  <a:themeElements>
    <a:clrScheme name="Custom 422">
      <a:dk1>
        <a:sysClr val="windowText" lastClr="000000"/>
      </a:dk1>
      <a:lt1>
        <a:sysClr val="window" lastClr="FFFFFF"/>
      </a:lt1>
      <a:dk2>
        <a:srgbClr val="1F3D6F"/>
      </a:dk2>
      <a:lt2>
        <a:srgbClr val="EEECE1"/>
      </a:lt2>
      <a:accent1>
        <a:srgbClr val="5AC07E"/>
      </a:accent1>
      <a:accent2>
        <a:srgbClr val="FE7735"/>
      </a:accent2>
      <a:accent3>
        <a:srgbClr val="4B69FD"/>
      </a:accent3>
      <a:accent4>
        <a:srgbClr val="FFCC4F"/>
      </a:accent4>
      <a:accent5>
        <a:srgbClr val="1F3D6F"/>
      </a:accent5>
      <a:accent6>
        <a:srgbClr val="A5A5A5"/>
      </a:accent6>
      <a:hlink>
        <a:srgbClr val="0000FF"/>
      </a:hlink>
      <a:folHlink>
        <a:srgbClr val="800080"/>
      </a:folHlink>
    </a:clrScheme>
    <a:fontScheme name="slidemodel">
      <a:majorFont>
        <a:latin typeface="Calibr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New Xerox Theme">
  <a:themeElements>
    <a:clrScheme name="Xerox Palette">
      <a:dk1>
        <a:srgbClr val="000000"/>
      </a:dk1>
      <a:lt1>
        <a:srgbClr val="FFFFFF"/>
      </a:lt1>
      <a:dk2>
        <a:srgbClr val="000000"/>
      </a:dk2>
      <a:lt2>
        <a:srgbClr val="9B2583"/>
      </a:lt2>
      <a:accent1>
        <a:srgbClr val="9B2583"/>
      </a:accent1>
      <a:accent2>
        <a:srgbClr val="2895D5"/>
      </a:accent2>
      <a:accent3>
        <a:srgbClr val="E67600"/>
      </a:accent3>
      <a:accent4>
        <a:srgbClr val="FD9F13"/>
      </a:accent4>
      <a:accent5>
        <a:srgbClr val="6DAF3D"/>
      </a:accent5>
      <a:accent6>
        <a:srgbClr val="D92231"/>
      </a:accent6>
      <a:hlink>
        <a:srgbClr val="D92231"/>
      </a:hlink>
      <a:folHlink>
        <a:srgbClr val="D92231"/>
      </a:folHlink>
    </a:clrScheme>
    <a:fontScheme name="Custom 1">
      <a:majorFont>
        <a:latin typeface="Xerox Sans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New Xerox Theme" id="{DD9DE1CA-47BA-4BE9-94DA-616396F5D7D8}" vid="{D313208B-A405-4A80-8B1E-9D242F7077B2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17</Words>
  <Application>Microsoft Office PowerPoint</Application>
  <PresentationFormat>Custom</PresentationFormat>
  <Paragraphs>53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1" baseType="lpstr">
      <vt:lpstr>Arial</vt:lpstr>
      <vt:lpstr>Calibri</vt:lpstr>
      <vt:lpstr>Segoe UI</vt:lpstr>
      <vt:lpstr>Xerox Sans</vt:lpstr>
      <vt:lpstr>Xerox Sans Light</vt:lpstr>
      <vt:lpstr>Office Theme</vt:lpstr>
      <vt:lpstr>3_Office Theme</vt:lpstr>
      <vt:lpstr>New Xerox Theme</vt:lpstr>
      <vt:lpstr>think-cell Slide</vt:lpstr>
      <vt:lpstr>PowerPoint Presentation</vt:lpstr>
      <vt:lpstr>PowerPoint Presentation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IST Framework Diagram PowerPoint Template</dc:title>
  <dc:creator>Julian</dc:creator>
  <cp:lastModifiedBy>Kenrick Fraser</cp:lastModifiedBy>
  <cp:revision>2</cp:revision>
  <dcterms:created xsi:type="dcterms:W3CDTF">2013-09-12T13:05:01Z</dcterms:created>
  <dcterms:modified xsi:type="dcterms:W3CDTF">2026-02-25T18:34:41Z</dcterms:modified>
</cp:coreProperties>
</file>